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53"/>
  </p:notesMasterIdLst>
  <p:handoutMasterIdLst>
    <p:handoutMasterId r:id="rId54"/>
  </p:handoutMasterIdLst>
  <p:sldIdLst>
    <p:sldId id="2145706641" r:id="rId5"/>
    <p:sldId id="2145706657" r:id="rId6"/>
    <p:sldId id="1775" r:id="rId7"/>
    <p:sldId id="2145706660" r:id="rId8"/>
    <p:sldId id="2145706659" r:id="rId9"/>
    <p:sldId id="2145706658" r:id="rId10"/>
    <p:sldId id="2145706665" r:id="rId11"/>
    <p:sldId id="2145706661" r:id="rId12"/>
    <p:sldId id="2145706654" r:id="rId13"/>
    <p:sldId id="2145706674" r:id="rId14"/>
    <p:sldId id="2145706655" r:id="rId15"/>
    <p:sldId id="2145706656" r:id="rId16"/>
    <p:sldId id="2145706675" r:id="rId17"/>
    <p:sldId id="2145706676" r:id="rId18"/>
    <p:sldId id="2145706677" r:id="rId19"/>
    <p:sldId id="2145706704" r:id="rId20"/>
    <p:sldId id="2145706684" r:id="rId21"/>
    <p:sldId id="2145706699" r:id="rId22"/>
    <p:sldId id="2145706673" r:id="rId23"/>
    <p:sldId id="2145706662" r:id="rId24"/>
    <p:sldId id="2145706698" r:id="rId25"/>
    <p:sldId id="2145706680" r:id="rId26"/>
    <p:sldId id="2145706687" r:id="rId27"/>
    <p:sldId id="2145706690" r:id="rId28"/>
    <p:sldId id="2145706688" r:id="rId29"/>
    <p:sldId id="2145706695" r:id="rId30"/>
    <p:sldId id="2145706681" r:id="rId31"/>
    <p:sldId id="2145706689" r:id="rId32"/>
    <p:sldId id="2145706702" r:id="rId33"/>
    <p:sldId id="2145706679" r:id="rId34"/>
    <p:sldId id="2145706683" r:id="rId35"/>
    <p:sldId id="2145706678" r:id="rId36"/>
    <p:sldId id="2145706682" r:id="rId37"/>
    <p:sldId id="2145706691" r:id="rId38"/>
    <p:sldId id="2145706670" r:id="rId39"/>
    <p:sldId id="2145706663" r:id="rId40"/>
    <p:sldId id="2145706692" r:id="rId41"/>
    <p:sldId id="2145706697" r:id="rId42"/>
    <p:sldId id="2145706693" r:id="rId43"/>
    <p:sldId id="2145706685" r:id="rId44"/>
    <p:sldId id="2145706664" r:id="rId45"/>
    <p:sldId id="2145706686" r:id="rId46"/>
    <p:sldId id="2145706694" r:id="rId47"/>
    <p:sldId id="2145706672" r:id="rId48"/>
    <p:sldId id="2145706700" r:id="rId49"/>
    <p:sldId id="2145706701" r:id="rId50"/>
    <p:sldId id="2145706703" r:id="rId51"/>
    <p:sldId id="2145706653" r:id="rId52"/>
  </p:sldIdLst>
  <p:sldSz cx="12192000" cy="6858000"/>
  <p:notesSz cx="6797675" cy="9926638"/>
  <p:embeddedFontLst>
    <p:embeddedFont>
      <p:font typeface="Ubuntu" panose="020B0504030602030204" pitchFamily="34" charset="0"/>
      <p:regular r:id="rId55"/>
      <p:bold r:id="rId56"/>
      <p:italic r:id="rId57"/>
      <p:boldItalic r:id="rId58"/>
    </p:embeddedFont>
    <p:embeddedFont>
      <p:font typeface="Ubuntu Light" panose="020B0304030602030204" pitchFamily="34" charset="0"/>
      <p:regular r:id="rId59"/>
      <p:italic r:id="rId60"/>
    </p:embeddedFont>
    <p:embeddedFont>
      <p:font typeface="Ubuntu Medium" panose="020B0604030602030204" pitchFamily="34" charset="0"/>
      <p:regular r:id="rId61"/>
      <p:italic r:id="rId62"/>
    </p:embeddedFont>
    <p:embeddedFont>
      <p:font typeface="Verdana" panose="020B0604030504040204" pitchFamily="34" charset="0"/>
      <p:regular r:id="rId63"/>
      <p:bold r:id="rId64"/>
      <p:italic r:id="rId65"/>
      <p:boldItalic r:id="rId66"/>
    </p:embeddedFont>
  </p:embeddedFontLst>
  <p:custDataLst>
    <p:tags r:id="rId6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F1FC53-AFEF-4854-BDA8-B51B0122CBF2}" v="187" dt="2024-09-18T21:35:16.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0" autoAdjust="0"/>
    <p:restoredTop sz="86398" autoAdjust="0"/>
  </p:normalViewPr>
  <p:slideViewPr>
    <p:cSldViewPr>
      <p:cViewPr varScale="1">
        <p:scale>
          <a:sx n="53" d="100"/>
          <a:sy n="53" d="100"/>
        </p:scale>
        <p:origin x="62" y="110"/>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6990"/>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font" Target="fonts/font1.fntdata"/><Relationship Id="rId63" Type="http://schemas.openxmlformats.org/officeDocument/2006/relationships/font" Target="fonts/font9.fntdata"/><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3.fntdata"/><Relationship Id="rId61"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6.fntdata"/><Relationship Id="rId65" Type="http://schemas.openxmlformats.org/officeDocument/2006/relationships/font" Target="fonts/font11.fntdata"/><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5.fntdata"/><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sthoff, Amir" userId="8d048e8d-3042-4117-b8b6-5f176bda5671" providerId="ADAL" clId="{5AF1FC53-AFEF-4854-BDA8-B51B0122CBF2}"/>
    <pc:docChg chg="undo custSel addSld delSld modSld sldOrd modMainMaster">
      <pc:chgData name="Westhoff, Amir" userId="8d048e8d-3042-4117-b8b6-5f176bda5671" providerId="ADAL" clId="{5AF1FC53-AFEF-4854-BDA8-B51B0122CBF2}" dt="2024-09-18T21:35:16.411" v="8494"/>
      <pc:docMkLst>
        <pc:docMk/>
      </pc:docMkLst>
      <pc:sldChg chg="del">
        <pc:chgData name="Westhoff, Amir" userId="8d048e8d-3042-4117-b8b6-5f176bda5671" providerId="ADAL" clId="{5AF1FC53-AFEF-4854-BDA8-B51B0122CBF2}" dt="2024-09-16T20:37:16.668" v="273" actId="47"/>
        <pc:sldMkLst>
          <pc:docMk/>
          <pc:sldMk cId="0" sldId="266"/>
        </pc:sldMkLst>
      </pc:sldChg>
      <pc:sldChg chg="del">
        <pc:chgData name="Westhoff, Amir" userId="8d048e8d-3042-4117-b8b6-5f176bda5671" providerId="ADAL" clId="{5AF1FC53-AFEF-4854-BDA8-B51B0122CBF2}" dt="2024-09-16T20:37:16.668" v="273" actId="47"/>
        <pc:sldMkLst>
          <pc:docMk/>
          <pc:sldMk cId="0" sldId="267"/>
        </pc:sldMkLst>
      </pc:sldChg>
      <pc:sldChg chg="del">
        <pc:chgData name="Westhoff, Amir" userId="8d048e8d-3042-4117-b8b6-5f176bda5671" providerId="ADAL" clId="{5AF1FC53-AFEF-4854-BDA8-B51B0122CBF2}" dt="2024-09-16T20:37:44.246" v="275" actId="47"/>
        <pc:sldMkLst>
          <pc:docMk/>
          <pc:sldMk cId="3351895472" sldId="269"/>
        </pc:sldMkLst>
      </pc:sldChg>
      <pc:sldChg chg="del">
        <pc:chgData name="Westhoff, Amir" userId="8d048e8d-3042-4117-b8b6-5f176bda5671" providerId="ADAL" clId="{5AF1FC53-AFEF-4854-BDA8-B51B0122CBF2}" dt="2024-09-16T20:37:16.668" v="273" actId="47"/>
        <pc:sldMkLst>
          <pc:docMk/>
          <pc:sldMk cId="2855990985" sldId="276"/>
        </pc:sldMkLst>
      </pc:sldChg>
      <pc:sldChg chg="del">
        <pc:chgData name="Westhoff, Amir" userId="8d048e8d-3042-4117-b8b6-5f176bda5671" providerId="ADAL" clId="{5AF1FC53-AFEF-4854-BDA8-B51B0122CBF2}" dt="2024-09-16T20:37:16.668" v="273" actId="47"/>
        <pc:sldMkLst>
          <pc:docMk/>
          <pc:sldMk cId="0" sldId="283"/>
        </pc:sldMkLst>
      </pc:sldChg>
      <pc:sldChg chg="del">
        <pc:chgData name="Westhoff, Amir" userId="8d048e8d-3042-4117-b8b6-5f176bda5671" providerId="ADAL" clId="{5AF1FC53-AFEF-4854-BDA8-B51B0122CBF2}" dt="2024-09-16T20:37:16.668" v="273" actId="47"/>
        <pc:sldMkLst>
          <pc:docMk/>
          <pc:sldMk cId="0" sldId="285"/>
        </pc:sldMkLst>
      </pc:sldChg>
      <pc:sldChg chg="del">
        <pc:chgData name="Westhoff, Amir" userId="8d048e8d-3042-4117-b8b6-5f176bda5671" providerId="ADAL" clId="{5AF1FC53-AFEF-4854-BDA8-B51B0122CBF2}" dt="2024-09-16T20:37:16.668" v="273" actId="47"/>
        <pc:sldMkLst>
          <pc:docMk/>
          <pc:sldMk cId="2721304643" sldId="310"/>
        </pc:sldMkLst>
      </pc:sldChg>
      <pc:sldChg chg="del">
        <pc:chgData name="Westhoff, Amir" userId="8d048e8d-3042-4117-b8b6-5f176bda5671" providerId="ADAL" clId="{5AF1FC53-AFEF-4854-BDA8-B51B0122CBF2}" dt="2024-09-16T20:37:36.885" v="274" actId="47"/>
        <pc:sldMkLst>
          <pc:docMk/>
          <pc:sldMk cId="354303532" sldId="380"/>
        </pc:sldMkLst>
      </pc:sldChg>
      <pc:sldChg chg="del">
        <pc:chgData name="Westhoff, Amir" userId="8d048e8d-3042-4117-b8b6-5f176bda5671" providerId="ADAL" clId="{5AF1FC53-AFEF-4854-BDA8-B51B0122CBF2}" dt="2024-09-16T20:37:16.668" v="273" actId="47"/>
        <pc:sldMkLst>
          <pc:docMk/>
          <pc:sldMk cId="2472911024" sldId="386"/>
        </pc:sldMkLst>
      </pc:sldChg>
      <pc:sldChg chg="del">
        <pc:chgData name="Westhoff, Amir" userId="8d048e8d-3042-4117-b8b6-5f176bda5671" providerId="ADAL" clId="{5AF1FC53-AFEF-4854-BDA8-B51B0122CBF2}" dt="2024-09-16T20:38:02.527" v="277" actId="47"/>
        <pc:sldMkLst>
          <pc:docMk/>
          <pc:sldMk cId="82114281" sldId="394"/>
        </pc:sldMkLst>
      </pc:sldChg>
      <pc:sldChg chg="del">
        <pc:chgData name="Westhoff, Amir" userId="8d048e8d-3042-4117-b8b6-5f176bda5671" providerId="ADAL" clId="{5AF1FC53-AFEF-4854-BDA8-B51B0122CBF2}" dt="2024-09-16T20:37:16.668" v="273" actId="47"/>
        <pc:sldMkLst>
          <pc:docMk/>
          <pc:sldMk cId="4204977538" sldId="405"/>
        </pc:sldMkLst>
      </pc:sldChg>
      <pc:sldChg chg="del">
        <pc:chgData name="Westhoff, Amir" userId="8d048e8d-3042-4117-b8b6-5f176bda5671" providerId="ADAL" clId="{5AF1FC53-AFEF-4854-BDA8-B51B0122CBF2}" dt="2024-09-16T20:37:16.668" v="273" actId="47"/>
        <pc:sldMkLst>
          <pc:docMk/>
          <pc:sldMk cId="1138927054" sldId="409"/>
        </pc:sldMkLst>
      </pc:sldChg>
      <pc:sldChg chg="del">
        <pc:chgData name="Westhoff, Amir" userId="8d048e8d-3042-4117-b8b6-5f176bda5671" providerId="ADAL" clId="{5AF1FC53-AFEF-4854-BDA8-B51B0122CBF2}" dt="2024-09-16T20:37:16.668" v="273" actId="47"/>
        <pc:sldMkLst>
          <pc:docMk/>
          <pc:sldMk cId="3830147844" sldId="422"/>
        </pc:sldMkLst>
      </pc:sldChg>
      <pc:sldChg chg="del">
        <pc:chgData name="Westhoff, Amir" userId="8d048e8d-3042-4117-b8b6-5f176bda5671" providerId="ADAL" clId="{5AF1FC53-AFEF-4854-BDA8-B51B0122CBF2}" dt="2024-09-16T20:37:16.668" v="273" actId="47"/>
        <pc:sldMkLst>
          <pc:docMk/>
          <pc:sldMk cId="448753085" sldId="430"/>
        </pc:sldMkLst>
      </pc:sldChg>
      <pc:sldChg chg="del">
        <pc:chgData name="Westhoff, Amir" userId="8d048e8d-3042-4117-b8b6-5f176bda5671" providerId="ADAL" clId="{5AF1FC53-AFEF-4854-BDA8-B51B0122CBF2}" dt="2024-09-16T20:37:16.668" v="273" actId="47"/>
        <pc:sldMkLst>
          <pc:docMk/>
          <pc:sldMk cId="3545693771" sldId="434"/>
        </pc:sldMkLst>
      </pc:sldChg>
      <pc:sldChg chg="del">
        <pc:chgData name="Westhoff, Amir" userId="8d048e8d-3042-4117-b8b6-5f176bda5671" providerId="ADAL" clId="{5AF1FC53-AFEF-4854-BDA8-B51B0122CBF2}" dt="2024-09-16T20:37:16.668" v="273" actId="47"/>
        <pc:sldMkLst>
          <pc:docMk/>
          <pc:sldMk cId="886708205" sldId="440"/>
        </pc:sldMkLst>
      </pc:sldChg>
      <pc:sldChg chg="del">
        <pc:chgData name="Westhoff, Amir" userId="8d048e8d-3042-4117-b8b6-5f176bda5671" providerId="ADAL" clId="{5AF1FC53-AFEF-4854-BDA8-B51B0122CBF2}" dt="2024-09-16T20:31:38.863" v="56" actId="47"/>
        <pc:sldMkLst>
          <pc:docMk/>
          <pc:sldMk cId="182855490" sldId="498"/>
        </pc:sldMkLst>
      </pc:sldChg>
      <pc:sldChg chg="del">
        <pc:chgData name="Westhoff, Amir" userId="8d048e8d-3042-4117-b8b6-5f176bda5671" providerId="ADAL" clId="{5AF1FC53-AFEF-4854-BDA8-B51B0122CBF2}" dt="2024-09-16T20:37:36.885" v="274" actId="47"/>
        <pc:sldMkLst>
          <pc:docMk/>
          <pc:sldMk cId="718490634" sldId="565"/>
        </pc:sldMkLst>
      </pc:sldChg>
      <pc:sldChg chg="del">
        <pc:chgData name="Westhoff, Amir" userId="8d048e8d-3042-4117-b8b6-5f176bda5671" providerId="ADAL" clId="{5AF1FC53-AFEF-4854-BDA8-B51B0122CBF2}" dt="2024-09-16T20:37:16.668" v="273" actId="47"/>
        <pc:sldMkLst>
          <pc:docMk/>
          <pc:sldMk cId="937350110" sldId="588"/>
        </pc:sldMkLst>
      </pc:sldChg>
      <pc:sldChg chg="del">
        <pc:chgData name="Westhoff, Amir" userId="8d048e8d-3042-4117-b8b6-5f176bda5671" providerId="ADAL" clId="{5AF1FC53-AFEF-4854-BDA8-B51B0122CBF2}" dt="2024-09-16T20:37:16.668" v="273" actId="47"/>
        <pc:sldMkLst>
          <pc:docMk/>
          <pc:sldMk cId="4223175608" sldId="1008"/>
        </pc:sldMkLst>
      </pc:sldChg>
      <pc:sldChg chg="del">
        <pc:chgData name="Westhoff, Amir" userId="8d048e8d-3042-4117-b8b6-5f176bda5671" providerId="ADAL" clId="{5AF1FC53-AFEF-4854-BDA8-B51B0122CBF2}" dt="2024-09-16T20:37:16.668" v="273" actId="47"/>
        <pc:sldMkLst>
          <pc:docMk/>
          <pc:sldMk cId="650130758" sldId="1009"/>
        </pc:sldMkLst>
      </pc:sldChg>
      <pc:sldChg chg="del">
        <pc:chgData name="Westhoff, Amir" userId="8d048e8d-3042-4117-b8b6-5f176bda5671" providerId="ADAL" clId="{5AF1FC53-AFEF-4854-BDA8-B51B0122CBF2}" dt="2024-09-16T20:37:16.668" v="273" actId="47"/>
        <pc:sldMkLst>
          <pc:docMk/>
          <pc:sldMk cId="361851707" sldId="1010"/>
        </pc:sldMkLst>
      </pc:sldChg>
      <pc:sldChg chg="del">
        <pc:chgData name="Westhoff, Amir" userId="8d048e8d-3042-4117-b8b6-5f176bda5671" providerId="ADAL" clId="{5AF1FC53-AFEF-4854-BDA8-B51B0122CBF2}" dt="2024-09-16T20:37:16.668" v="273" actId="47"/>
        <pc:sldMkLst>
          <pc:docMk/>
          <pc:sldMk cId="1027057132" sldId="1011"/>
        </pc:sldMkLst>
      </pc:sldChg>
      <pc:sldChg chg="del">
        <pc:chgData name="Westhoff, Amir" userId="8d048e8d-3042-4117-b8b6-5f176bda5671" providerId="ADAL" clId="{5AF1FC53-AFEF-4854-BDA8-B51B0122CBF2}" dt="2024-09-16T20:37:36.885" v="274" actId="47"/>
        <pc:sldMkLst>
          <pc:docMk/>
          <pc:sldMk cId="1044416223" sldId="1027"/>
        </pc:sldMkLst>
      </pc:sldChg>
      <pc:sldChg chg="del">
        <pc:chgData name="Westhoff, Amir" userId="8d048e8d-3042-4117-b8b6-5f176bda5671" providerId="ADAL" clId="{5AF1FC53-AFEF-4854-BDA8-B51B0122CBF2}" dt="2024-09-16T20:37:44.246" v="275" actId="47"/>
        <pc:sldMkLst>
          <pc:docMk/>
          <pc:sldMk cId="2102347676" sldId="1028"/>
        </pc:sldMkLst>
      </pc:sldChg>
      <pc:sldChg chg="del">
        <pc:chgData name="Westhoff, Amir" userId="8d048e8d-3042-4117-b8b6-5f176bda5671" providerId="ADAL" clId="{5AF1FC53-AFEF-4854-BDA8-B51B0122CBF2}" dt="2024-09-16T20:37:16.668" v="273" actId="47"/>
        <pc:sldMkLst>
          <pc:docMk/>
          <pc:sldMk cId="4260905200" sldId="1038"/>
        </pc:sldMkLst>
      </pc:sldChg>
      <pc:sldChg chg="del">
        <pc:chgData name="Westhoff, Amir" userId="8d048e8d-3042-4117-b8b6-5f176bda5671" providerId="ADAL" clId="{5AF1FC53-AFEF-4854-BDA8-B51B0122CBF2}" dt="2024-09-16T20:37:16.668" v="273" actId="47"/>
        <pc:sldMkLst>
          <pc:docMk/>
          <pc:sldMk cId="1170595147" sldId="1046"/>
        </pc:sldMkLst>
      </pc:sldChg>
      <pc:sldChg chg="del">
        <pc:chgData name="Westhoff, Amir" userId="8d048e8d-3042-4117-b8b6-5f176bda5671" providerId="ADAL" clId="{5AF1FC53-AFEF-4854-BDA8-B51B0122CBF2}" dt="2024-09-16T20:31:38.863" v="56" actId="47"/>
        <pc:sldMkLst>
          <pc:docMk/>
          <pc:sldMk cId="945357298" sldId="1053"/>
        </pc:sldMkLst>
      </pc:sldChg>
      <pc:sldChg chg="del">
        <pc:chgData name="Westhoff, Amir" userId="8d048e8d-3042-4117-b8b6-5f176bda5671" providerId="ADAL" clId="{5AF1FC53-AFEF-4854-BDA8-B51B0122CBF2}" dt="2024-09-16T20:37:16.668" v="273" actId="47"/>
        <pc:sldMkLst>
          <pc:docMk/>
          <pc:sldMk cId="3686040749" sldId="1325"/>
        </pc:sldMkLst>
      </pc:sldChg>
      <pc:sldChg chg="del">
        <pc:chgData name="Westhoff, Amir" userId="8d048e8d-3042-4117-b8b6-5f176bda5671" providerId="ADAL" clId="{5AF1FC53-AFEF-4854-BDA8-B51B0122CBF2}" dt="2024-09-16T20:37:36.885" v="274" actId="47"/>
        <pc:sldMkLst>
          <pc:docMk/>
          <pc:sldMk cId="631323244" sldId="1328"/>
        </pc:sldMkLst>
      </pc:sldChg>
      <pc:sldChg chg="del">
        <pc:chgData name="Westhoff, Amir" userId="8d048e8d-3042-4117-b8b6-5f176bda5671" providerId="ADAL" clId="{5AF1FC53-AFEF-4854-BDA8-B51B0122CBF2}" dt="2024-09-16T20:37:36.885" v="274" actId="47"/>
        <pc:sldMkLst>
          <pc:docMk/>
          <pc:sldMk cId="3536142370" sldId="1329"/>
        </pc:sldMkLst>
      </pc:sldChg>
      <pc:sldChg chg="del">
        <pc:chgData name="Westhoff, Amir" userId="8d048e8d-3042-4117-b8b6-5f176bda5671" providerId="ADAL" clId="{5AF1FC53-AFEF-4854-BDA8-B51B0122CBF2}" dt="2024-09-16T20:37:16.668" v="273" actId="47"/>
        <pc:sldMkLst>
          <pc:docMk/>
          <pc:sldMk cId="3378203034" sldId="1682"/>
        </pc:sldMkLst>
      </pc:sldChg>
      <pc:sldChg chg="del mod modShow">
        <pc:chgData name="Westhoff, Amir" userId="8d048e8d-3042-4117-b8b6-5f176bda5671" providerId="ADAL" clId="{5AF1FC53-AFEF-4854-BDA8-B51B0122CBF2}" dt="2024-09-17T23:36:53.402" v="4620" actId="47"/>
        <pc:sldMkLst>
          <pc:docMk/>
          <pc:sldMk cId="480246164" sldId="1772"/>
        </pc:sldMkLst>
      </pc:sldChg>
      <pc:sldChg chg="del mod modShow">
        <pc:chgData name="Westhoff, Amir" userId="8d048e8d-3042-4117-b8b6-5f176bda5671" providerId="ADAL" clId="{5AF1FC53-AFEF-4854-BDA8-B51B0122CBF2}" dt="2024-09-17T23:36:53.402" v="4620" actId="47"/>
        <pc:sldMkLst>
          <pc:docMk/>
          <pc:sldMk cId="2285003263" sldId="1773"/>
        </pc:sldMkLst>
      </pc:sldChg>
      <pc:sldChg chg="addSp modSp mod">
        <pc:chgData name="Westhoff, Amir" userId="8d048e8d-3042-4117-b8b6-5f176bda5671" providerId="ADAL" clId="{5AF1FC53-AFEF-4854-BDA8-B51B0122CBF2}" dt="2024-09-17T20:51:51.214" v="2914" actId="20577"/>
        <pc:sldMkLst>
          <pc:docMk/>
          <pc:sldMk cId="2034258925" sldId="1775"/>
        </pc:sldMkLst>
        <pc:spChg chg="add mod">
          <ac:chgData name="Westhoff, Amir" userId="8d048e8d-3042-4117-b8b6-5f176bda5671" providerId="ADAL" clId="{5AF1FC53-AFEF-4854-BDA8-B51B0122CBF2}" dt="2024-09-16T20:32:04.037" v="62" actId="20577"/>
          <ac:spMkLst>
            <pc:docMk/>
            <pc:sldMk cId="2034258925" sldId="1775"/>
            <ac:spMk id="2" creationId="{CEA811E8-6076-90E2-5C9B-1D1222CC22BE}"/>
          </ac:spMkLst>
        </pc:spChg>
        <pc:spChg chg="add mod">
          <ac:chgData name="Westhoff, Amir" userId="8d048e8d-3042-4117-b8b6-5f176bda5671" providerId="ADAL" clId="{5AF1FC53-AFEF-4854-BDA8-B51B0122CBF2}" dt="2024-09-16T20:50:58.941" v="569" actId="20577"/>
          <ac:spMkLst>
            <pc:docMk/>
            <pc:sldMk cId="2034258925" sldId="1775"/>
            <ac:spMk id="3" creationId="{89303653-0DFB-782D-4040-9AE013866151}"/>
          </ac:spMkLst>
        </pc:spChg>
        <pc:spChg chg="add mod">
          <ac:chgData name="Westhoff, Amir" userId="8d048e8d-3042-4117-b8b6-5f176bda5671" providerId="ADAL" clId="{5AF1FC53-AFEF-4854-BDA8-B51B0122CBF2}" dt="2024-09-16T20:32:09.937" v="64" actId="20577"/>
          <ac:spMkLst>
            <pc:docMk/>
            <pc:sldMk cId="2034258925" sldId="1775"/>
            <ac:spMk id="5" creationId="{FAC5F772-D767-D72A-EE8A-BCABA43E4227}"/>
          </ac:spMkLst>
        </pc:spChg>
        <pc:spChg chg="mod">
          <ac:chgData name="Westhoff, Amir" userId="8d048e8d-3042-4117-b8b6-5f176bda5671" providerId="ADAL" clId="{5AF1FC53-AFEF-4854-BDA8-B51B0122CBF2}" dt="2024-09-16T20:45:58.015" v="407" actId="20577"/>
          <ac:spMkLst>
            <pc:docMk/>
            <pc:sldMk cId="2034258925" sldId="1775"/>
            <ac:spMk id="6" creationId="{A9D54E7C-EC5D-4279-98B5-7D1267C2C942}"/>
          </ac:spMkLst>
        </pc:spChg>
        <pc:spChg chg="mod">
          <ac:chgData name="Westhoff, Amir" userId="8d048e8d-3042-4117-b8b6-5f176bda5671" providerId="ADAL" clId="{5AF1FC53-AFEF-4854-BDA8-B51B0122CBF2}" dt="2024-09-16T20:35:34.586" v="204" actId="27636"/>
          <ac:spMkLst>
            <pc:docMk/>
            <pc:sldMk cId="2034258925" sldId="1775"/>
            <ac:spMk id="7" creationId="{4355134D-EB62-4307-A5C3-616C6CA6FE8B}"/>
          </ac:spMkLst>
        </pc:spChg>
        <pc:spChg chg="mod">
          <ac:chgData name="Westhoff, Amir" userId="8d048e8d-3042-4117-b8b6-5f176bda5671" providerId="ADAL" clId="{5AF1FC53-AFEF-4854-BDA8-B51B0122CBF2}" dt="2024-09-17T20:51:51.214" v="2914" actId="20577"/>
          <ac:spMkLst>
            <pc:docMk/>
            <pc:sldMk cId="2034258925" sldId="1775"/>
            <ac:spMk id="8" creationId="{581442CE-8089-4C55-AE8A-E69EF53104DB}"/>
          </ac:spMkLst>
        </pc:spChg>
        <pc:spChg chg="add mod">
          <ac:chgData name="Westhoff, Amir" userId="8d048e8d-3042-4117-b8b6-5f176bda5671" providerId="ADAL" clId="{5AF1FC53-AFEF-4854-BDA8-B51B0122CBF2}" dt="2024-09-16T20:51:02.362" v="580" actId="20577"/>
          <ac:spMkLst>
            <pc:docMk/>
            <pc:sldMk cId="2034258925" sldId="1775"/>
            <ac:spMk id="12" creationId="{2B81A888-C7ED-5807-5DB4-59F8D6053801}"/>
          </ac:spMkLst>
        </pc:spChg>
      </pc:sldChg>
      <pc:sldChg chg="del">
        <pc:chgData name="Westhoff, Amir" userId="8d048e8d-3042-4117-b8b6-5f176bda5671" providerId="ADAL" clId="{5AF1FC53-AFEF-4854-BDA8-B51B0122CBF2}" dt="2024-09-16T20:37:16.668" v="273" actId="47"/>
        <pc:sldMkLst>
          <pc:docMk/>
          <pc:sldMk cId="2581145029" sldId="2645"/>
        </pc:sldMkLst>
      </pc:sldChg>
      <pc:sldChg chg="del">
        <pc:chgData name="Westhoff, Amir" userId="8d048e8d-3042-4117-b8b6-5f176bda5671" providerId="ADAL" clId="{5AF1FC53-AFEF-4854-BDA8-B51B0122CBF2}" dt="2024-09-16T20:37:16.668" v="273" actId="47"/>
        <pc:sldMkLst>
          <pc:docMk/>
          <pc:sldMk cId="2550309240" sldId="2653"/>
        </pc:sldMkLst>
      </pc:sldChg>
      <pc:sldChg chg="del">
        <pc:chgData name="Westhoff, Amir" userId="8d048e8d-3042-4117-b8b6-5f176bda5671" providerId="ADAL" clId="{5AF1FC53-AFEF-4854-BDA8-B51B0122CBF2}" dt="2024-09-16T20:37:16.668" v="273" actId="47"/>
        <pc:sldMkLst>
          <pc:docMk/>
          <pc:sldMk cId="1802550740" sldId="2654"/>
        </pc:sldMkLst>
      </pc:sldChg>
      <pc:sldChg chg="del">
        <pc:chgData name="Westhoff, Amir" userId="8d048e8d-3042-4117-b8b6-5f176bda5671" providerId="ADAL" clId="{5AF1FC53-AFEF-4854-BDA8-B51B0122CBF2}" dt="2024-09-16T20:31:00.318" v="55" actId="47"/>
        <pc:sldMkLst>
          <pc:docMk/>
          <pc:sldMk cId="2373932258" sldId="2656"/>
        </pc:sldMkLst>
      </pc:sldChg>
      <pc:sldChg chg="del">
        <pc:chgData name="Westhoff, Amir" userId="8d048e8d-3042-4117-b8b6-5f176bda5671" providerId="ADAL" clId="{5AF1FC53-AFEF-4854-BDA8-B51B0122CBF2}" dt="2024-09-16T20:31:00.318" v="55" actId="47"/>
        <pc:sldMkLst>
          <pc:docMk/>
          <pc:sldMk cId="539538189" sldId="2662"/>
        </pc:sldMkLst>
      </pc:sldChg>
      <pc:sldChg chg="del">
        <pc:chgData name="Westhoff, Amir" userId="8d048e8d-3042-4117-b8b6-5f176bda5671" providerId="ADAL" clId="{5AF1FC53-AFEF-4854-BDA8-B51B0122CBF2}" dt="2024-09-16T20:31:00.318" v="55" actId="47"/>
        <pc:sldMkLst>
          <pc:docMk/>
          <pc:sldMk cId="3786387889" sldId="2665"/>
        </pc:sldMkLst>
      </pc:sldChg>
      <pc:sldChg chg="del">
        <pc:chgData name="Westhoff, Amir" userId="8d048e8d-3042-4117-b8b6-5f176bda5671" providerId="ADAL" clId="{5AF1FC53-AFEF-4854-BDA8-B51B0122CBF2}" dt="2024-09-16T20:31:00.318" v="55" actId="47"/>
        <pc:sldMkLst>
          <pc:docMk/>
          <pc:sldMk cId="3094791069" sldId="2671"/>
        </pc:sldMkLst>
      </pc:sldChg>
      <pc:sldChg chg="del">
        <pc:chgData name="Westhoff, Amir" userId="8d048e8d-3042-4117-b8b6-5f176bda5671" providerId="ADAL" clId="{5AF1FC53-AFEF-4854-BDA8-B51B0122CBF2}" dt="2024-09-16T20:37:16.668" v="273" actId="47"/>
        <pc:sldMkLst>
          <pc:docMk/>
          <pc:sldMk cId="3179197896" sldId="8111"/>
        </pc:sldMkLst>
      </pc:sldChg>
      <pc:sldChg chg="del">
        <pc:chgData name="Westhoff, Amir" userId="8d048e8d-3042-4117-b8b6-5f176bda5671" providerId="ADAL" clId="{5AF1FC53-AFEF-4854-BDA8-B51B0122CBF2}" dt="2024-09-16T20:37:36.885" v="274" actId="47"/>
        <pc:sldMkLst>
          <pc:docMk/>
          <pc:sldMk cId="3726857506" sldId="10844"/>
        </pc:sldMkLst>
      </pc:sldChg>
      <pc:sldChg chg="del">
        <pc:chgData name="Westhoff, Amir" userId="8d048e8d-3042-4117-b8b6-5f176bda5671" providerId="ADAL" clId="{5AF1FC53-AFEF-4854-BDA8-B51B0122CBF2}" dt="2024-09-16T20:37:36.885" v="274" actId="47"/>
        <pc:sldMkLst>
          <pc:docMk/>
          <pc:sldMk cId="1297962609" sldId="10848"/>
        </pc:sldMkLst>
      </pc:sldChg>
      <pc:sldChg chg="del">
        <pc:chgData name="Westhoff, Amir" userId="8d048e8d-3042-4117-b8b6-5f176bda5671" providerId="ADAL" clId="{5AF1FC53-AFEF-4854-BDA8-B51B0122CBF2}" dt="2024-09-16T20:37:36.885" v="274" actId="47"/>
        <pc:sldMkLst>
          <pc:docMk/>
          <pc:sldMk cId="2193830941" sldId="10849"/>
        </pc:sldMkLst>
      </pc:sldChg>
      <pc:sldChg chg="del">
        <pc:chgData name="Westhoff, Amir" userId="8d048e8d-3042-4117-b8b6-5f176bda5671" providerId="ADAL" clId="{5AF1FC53-AFEF-4854-BDA8-B51B0122CBF2}" dt="2024-09-16T20:38:02.527" v="277" actId="47"/>
        <pc:sldMkLst>
          <pc:docMk/>
          <pc:sldMk cId="3595805359" sldId="10918"/>
        </pc:sldMkLst>
      </pc:sldChg>
      <pc:sldChg chg="del">
        <pc:chgData name="Westhoff, Amir" userId="8d048e8d-3042-4117-b8b6-5f176bda5671" providerId="ADAL" clId="{5AF1FC53-AFEF-4854-BDA8-B51B0122CBF2}" dt="2024-09-16T20:38:02.527" v="277" actId="47"/>
        <pc:sldMkLst>
          <pc:docMk/>
          <pc:sldMk cId="505748107" sldId="10919"/>
        </pc:sldMkLst>
      </pc:sldChg>
      <pc:sldChg chg="del">
        <pc:chgData name="Westhoff, Amir" userId="8d048e8d-3042-4117-b8b6-5f176bda5671" providerId="ADAL" clId="{5AF1FC53-AFEF-4854-BDA8-B51B0122CBF2}" dt="2024-09-16T20:38:02.527" v="277" actId="47"/>
        <pc:sldMkLst>
          <pc:docMk/>
          <pc:sldMk cId="2505869572" sldId="10924"/>
        </pc:sldMkLst>
      </pc:sldChg>
      <pc:sldChg chg="del">
        <pc:chgData name="Westhoff, Amir" userId="8d048e8d-3042-4117-b8b6-5f176bda5671" providerId="ADAL" clId="{5AF1FC53-AFEF-4854-BDA8-B51B0122CBF2}" dt="2024-09-16T20:38:02.527" v="277" actId="47"/>
        <pc:sldMkLst>
          <pc:docMk/>
          <pc:sldMk cId="3459251001" sldId="10934"/>
        </pc:sldMkLst>
      </pc:sldChg>
      <pc:sldChg chg="del">
        <pc:chgData name="Westhoff, Amir" userId="8d048e8d-3042-4117-b8b6-5f176bda5671" providerId="ADAL" clId="{5AF1FC53-AFEF-4854-BDA8-B51B0122CBF2}" dt="2024-09-16T20:37:16.668" v="273" actId="47"/>
        <pc:sldMkLst>
          <pc:docMk/>
          <pc:sldMk cId="1390197923" sldId="21985"/>
        </pc:sldMkLst>
      </pc:sldChg>
      <pc:sldChg chg="del">
        <pc:chgData name="Westhoff, Amir" userId="8d048e8d-3042-4117-b8b6-5f176bda5671" providerId="ADAL" clId="{5AF1FC53-AFEF-4854-BDA8-B51B0122CBF2}" dt="2024-09-16T20:38:02.527" v="277" actId="47"/>
        <pc:sldMkLst>
          <pc:docMk/>
          <pc:sldMk cId="410887838" sldId="2145706623"/>
        </pc:sldMkLst>
      </pc:sldChg>
      <pc:sldChg chg="del">
        <pc:chgData name="Westhoff, Amir" userId="8d048e8d-3042-4117-b8b6-5f176bda5671" providerId="ADAL" clId="{5AF1FC53-AFEF-4854-BDA8-B51B0122CBF2}" dt="2024-09-16T20:37:16.668" v="273" actId="47"/>
        <pc:sldMkLst>
          <pc:docMk/>
          <pc:sldMk cId="1920476048" sldId="2145706635"/>
        </pc:sldMkLst>
      </pc:sldChg>
      <pc:sldChg chg="del">
        <pc:chgData name="Westhoff, Amir" userId="8d048e8d-3042-4117-b8b6-5f176bda5671" providerId="ADAL" clId="{5AF1FC53-AFEF-4854-BDA8-B51B0122CBF2}" dt="2024-09-16T20:37:44.246" v="275" actId="47"/>
        <pc:sldMkLst>
          <pc:docMk/>
          <pc:sldMk cId="987345956" sldId="2145706636"/>
        </pc:sldMkLst>
      </pc:sldChg>
      <pc:sldChg chg="del">
        <pc:chgData name="Westhoff, Amir" userId="8d048e8d-3042-4117-b8b6-5f176bda5671" providerId="ADAL" clId="{5AF1FC53-AFEF-4854-BDA8-B51B0122CBF2}" dt="2024-09-16T20:37:44.246" v="275" actId="47"/>
        <pc:sldMkLst>
          <pc:docMk/>
          <pc:sldMk cId="4108189068" sldId="2145706637"/>
        </pc:sldMkLst>
      </pc:sldChg>
      <pc:sldChg chg="del">
        <pc:chgData name="Westhoff, Amir" userId="8d048e8d-3042-4117-b8b6-5f176bda5671" providerId="ADAL" clId="{5AF1FC53-AFEF-4854-BDA8-B51B0122CBF2}" dt="2024-09-16T20:37:44.246" v="275" actId="47"/>
        <pc:sldMkLst>
          <pc:docMk/>
          <pc:sldMk cId="3724249930" sldId="2145706638"/>
        </pc:sldMkLst>
      </pc:sldChg>
      <pc:sldChg chg="del">
        <pc:chgData name="Westhoff, Amir" userId="8d048e8d-3042-4117-b8b6-5f176bda5671" providerId="ADAL" clId="{5AF1FC53-AFEF-4854-BDA8-B51B0122CBF2}" dt="2024-09-16T20:37:16.668" v="273" actId="47"/>
        <pc:sldMkLst>
          <pc:docMk/>
          <pc:sldMk cId="4281299154" sldId="2145706639"/>
        </pc:sldMkLst>
      </pc:sldChg>
      <pc:sldChg chg="del">
        <pc:chgData name="Westhoff, Amir" userId="8d048e8d-3042-4117-b8b6-5f176bda5671" providerId="ADAL" clId="{5AF1FC53-AFEF-4854-BDA8-B51B0122CBF2}" dt="2024-09-16T20:31:00.318" v="55" actId="47"/>
        <pc:sldMkLst>
          <pc:docMk/>
          <pc:sldMk cId="1338321651" sldId="2145706640"/>
        </pc:sldMkLst>
      </pc:sldChg>
      <pc:sldChg chg="modSp mod">
        <pc:chgData name="Westhoff, Amir" userId="8d048e8d-3042-4117-b8b6-5f176bda5671" providerId="ADAL" clId="{5AF1FC53-AFEF-4854-BDA8-B51B0122CBF2}" dt="2024-09-16T20:29:46.974" v="54" actId="20577"/>
        <pc:sldMkLst>
          <pc:docMk/>
          <pc:sldMk cId="1091889231" sldId="2145706641"/>
        </pc:sldMkLst>
        <pc:spChg chg="mod">
          <ac:chgData name="Westhoff, Amir" userId="8d048e8d-3042-4117-b8b6-5f176bda5671" providerId="ADAL" clId="{5AF1FC53-AFEF-4854-BDA8-B51B0122CBF2}" dt="2024-09-16T20:29:46.974" v="54" actId="20577"/>
          <ac:spMkLst>
            <pc:docMk/>
            <pc:sldMk cId="1091889231" sldId="2145706641"/>
            <ac:spMk id="2" creationId="{4F18DD32-924E-CE9C-91B0-4F30CCE1B6F9}"/>
          </ac:spMkLst>
        </pc:spChg>
        <pc:spChg chg="mod">
          <ac:chgData name="Westhoff, Amir" userId="8d048e8d-3042-4117-b8b6-5f176bda5671" providerId="ADAL" clId="{5AF1FC53-AFEF-4854-BDA8-B51B0122CBF2}" dt="2024-09-16T20:29:39.196" v="31" actId="20577"/>
          <ac:spMkLst>
            <pc:docMk/>
            <pc:sldMk cId="1091889231" sldId="2145706641"/>
            <ac:spMk id="3" creationId="{6D871570-FBB8-F282-1B97-65C16AE6C6F4}"/>
          </ac:spMkLst>
        </pc:spChg>
      </pc:sldChg>
      <pc:sldChg chg="del">
        <pc:chgData name="Westhoff, Amir" userId="8d048e8d-3042-4117-b8b6-5f176bda5671" providerId="ADAL" clId="{5AF1FC53-AFEF-4854-BDA8-B51B0122CBF2}" dt="2024-09-16T20:31:00.318" v="55" actId="47"/>
        <pc:sldMkLst>
          <pc:docMk/>
          <pc:sldMk cId="3102137744" sldId="2145706643"/>
        </pc:sldMkLst>
      </pc:sldChg>
      <pc:sldChg chg="del">
        <pc:chgData name="Westhoff, Amir" userId="8d048e8d-3042-4117-b8b6-5f176bda5671" providerId="ADAL" clId="{5AF1FC53-AFEF-4854-BDA8-B51B0122CBF2}" dt="2024-09-16T20:31:00.318" v="55" actId="47"/>
        <pc:sldMkLst>
          <pc:docMk/>
          <pc:sldMk cId="2005788358" sldId="2145706644"/>
        </pc:sldMkLst>
      </pc:sldChg>
      <pc:sldChg chg="del">
        <pc:chgData name="Westhoff, Amir" userId="8d048e8d-3042-4117-b8b6-5f176bda5671" providerId="ADAL" clId="{5AF1FC53-AFEF-4854-BDA8-B51B0122CBF2}" dt="2024-09-16T20:31:00.318" v="55" actId="47"/>
        <pc:sldMkLst>
          <pc:docMk/>
          <pc:sldMk cId="2067391810" sldId="2145706645"/>
        </pc:sldMkLst>
      </pc:sldChg>
      <pc:sldChg chg="del">
        <pc:chgData name="Westhoff, Amir" userId="8d048e8d-3042-4117-b8b6-5f176bda5671" providerId="ADAL" clId="{5AF1FC53-AFEF-4854-BDA8-B51B0122CBF2}" dt="2024-09-16T20:31:00.318" v="55" actId="47"/>
        <pc:sldMkLst>
          <pc:docMk/>
          <pc:sldMk cId="1508048202" sldId="2145706647"/>
        </pc:sldMkLst>
      </pc:sldChg>
      <pc:sldChg chg="del">
        <pc:chgData name="Westhoff, Amir" userId="8d048e8d-3042-4117-b8b6-5f176bda5671" providerId="ADAL" clId="{5AF1FC53-AFEF-4854-BDA8-B51B0122CBF2}" dt="2024-09-16T20:31:00.318" v="55" actId="47"/>
        <pc:sldMkLst>
          <pc:docMk/>
          <pc:sldMk cId="1981065767" sldId="2145706648"/>
        </pc:sldMkLst>
      </pc:sldChg>
      <pc:sldChg chg="del">
        <pc:chgData name="Westhoff, Amir" userId="8d048e8d-3042-4117-b8b6-5f176bda5671" providerId="ADAL" clId="{5AF1FC53-AFEF-4854-BDA8-B51B0122CBF2}" dt="2024-09-16T20:37:36.885" v="274" actId="47"/>
        <pc:sldMkLst>
          <pc:docMk/>
          <pc:sldMk cId="3285635004" sldId="2145706652"/>
        </pc:sldMkLst>
      </pc:sldChg>
      <pc:sldChg chg="add modAnim">
        <pc:chgData name="Westhoff, Amir" userId="8d048e8d-3042-4117-b8b6-5f176bda5671" providerId="ADAL" clId="{5AF1FC53-AFEF-4854-BDA8-B51B0122CBF2}" dt="2024-09-18T21:29:27.980" v="8433"/>
        <pc:sldMkLst>
          <pc:docMk/>
          <pc:sldMk cId="4087027262" sldId="2145706654"/>
        </pc:sldMkLst>
      </pc:sldChg>
      <pc:sldChg chg="del">
        <pc:chgData name="Westhoff, Amir" userId="8d048e8d-3042-4117-b8b6-5f176bda5671" providerId="ADAL" clId="{5AF1FC53-AFEF-4854-BDA8-B51B0122CBF2}" dt="2024-09-16T20:36:57.868" v="272" actId="47"/>
        <pc:sldMkLst>
          <pc:docMk/>
          <pc:sldMk cId="1420326363" sldId="2145706655"/>
        </pc:sldMkLst>
      </pc:sldChg>
      <pc:sldChg chg="add modAnim">
        <pc:chgData name="Westhoff, Amir" userId="8d048e8d-3042-4117-b8b6-5f176bda5671" providerId="ADAL" clId="{5AF1FC53-AFEF-4854-BDA8-B51B0122CBF2}" dt="2024-09-18T21:30:02.153" v="8438"/>
        <pc:sldMkLst>
          <pc:docMk/>
          <pc:sldMk cId="3171805188" sldId="2145706655"/>
        </pc:sldMkLst>
      </pc:sldChg>
      <pc:sldChg chg="add modAnim">
        <pc:chgData name="Westhoff, Amir" userId="8d048e8d-3042-4117-b8b6-5f176bda5671" providerId="ADAL" clId="{5AF1FC53-AFEF-4854-BDA8-B51B0122CBF2}" dt="2024-09-18T21:30:26.733" v="8443"/>
        <pc:sldMkLst>
          <pc:docMk/>
          <pc:sldMk cId="1829586674" sldId="2145706656"/>
        </pc:sldMkLst>
      </pc:sldChg>
      <pc:sldChg chg="del">
        <pc:chgData name="Westhoff, Amir" userId="8d048e8d-3042-4117-b8b6-5f176bda5671" providerId="ADAL" clId="{5AF1FC53-AFEF-4854-BDA8-B51B0122CBF2}" dt="2024-09-16T20:37:16.668" v="273" actId="47"/>
        <pc:sldMkLst>
          <pc:docMk/>
          <pc:sldMk cId="2695236636" sldId="2145706656"/>
        </pc:sldMkLst>
      </pc:sldChg>
      <pc:sldChg chg="addSp delSp modSp new mod ord">
        <pc:chgData name="Westhoff, Amir" userId="8d048e8d-3042-4117-b8b6-5f176bda5671" providerId="ADAL" clId="{5AF1FC53-AFEF-4854-BDA8-B51B0122CBF2}" dt="2024-09-17T20:44:19.059" v="2793" actId="5793"/>
        <pc:sldMkLst>
          <pc:docMk/>
          <pc:sldMk cId="2764115968" sldId="2145706657"/>
        </pc:sldMkLst>
        <pc:spChg chg="del">
          <ac:chgData name="Westhoff, Amir" userId="8d048e8d-3042-4117-b8b6-5f176bda5671" providerId="ADAL" clId="{5AF1FC53-AFEF-4854-BDA8-B51B0122CBF2}" dt="2024-09-17T20:44:13.359" v="2785" actId="478"/>
          <ac:spMkLst>
            <pc:docMk/>
            <pc:sldMk cId="2764115968" sldId="2145706657"/>
            <ac:spMk id="2" creationId="{DF28FB9B-DFCE-F414-D3A6-60EA047B68C6}"/>
          </ac:spMkLst>
        </pc:spChg>
        <pc:spChg chg="del">
          <ac:chgData name="Westhoff, Amir" userId="8d048e8d-3042-4117-b8b6-5f176bda5671" providerId="ADAL" clId="{5AF1FC53-AFEF-4854-BDA8-B51B0122CBF2}" dt="2024-09-17T20:44:05.098" v="2782" actId="478"/>
          <ac:spMkLst>
            <pc:docMk/>
            <pc:sldMk cId="2764115968" sldId="2145706657"/>
            <ac:spMk id="3" creationId="{5E7B48F3-94E0-956F-BF32-0D65115FA3C6}"/>
          </ac:spMkLst>
        </pc:spChg>
        <pc:spChg chg="mod">
          <ac:chgData name="Westhoff, Amir" userId="8d048e8d-3042-4117-b8b6-5f176bda5671" providerId="ADAL" clId="{5AF1FC53-AFEF-4854-BDA8-B51B0122CBF2}" dt="2024-09-16T20:45:17.242" v="378" actId="20577"/>
          <ac:spMkLst>
            <pc:docMk/>
            <pc:sldMk cId="2764115968" sldId="2145706657"/>
            <ac:spMk id="4" creationId="{AF7B65AB-7C1D-486C-B0D9-52715E4F9B6F}"/>
          </ac:spMkLst>
        </pc:spChg>
        <pc:spChg chg="add mod">
          <ac:chgData name="Westhoff, Amir" userId="8d048e8d-3042-4117-b8b6-5f176bda5671" providerId="ADAL" clId="{5AF1FC53-AFEF-4854-BDA8-B51B0122CBF2}" dt="2024-09-17T20:44:09.085" v="2784" actId="207"/>
          <ac:spMkLst>
            <pc:docMk/>
            <pc:sldMk cId="2764115968" sldId="2145706657"/>
            <ac:spMk id="5" creationId="{C976CF38-40D1-E668-D653-D3F302106E96}"/>
          </ac:spMkLst>
        </pc:spChg>
        <pc:spChg chg="add mod">
          <ac:chgData name="Westhoff, Amir" userId="8d048e8d-3042-4117-b8b6-5f176bda5671" providerId="ADAL" clId="{5AF1FC53-AFEF-4854-BDA8-B51B0122CBF2}" dt="2024-09-17T20:44:09.085" v="2784" actId="207"/>
          <ac:spMkLst>
            <pc:docMk/>
            <pc:sldMk cId="2764115968" sldId="2145706657"/>
            <ac:spMk id="6" creationId="{F70B7AC2-CF86-62CC-41F2-BF2E16357FFA}"/>
          </ac:spMkLst>
        </pc:spChg>
        <pc:spChg chg="add mod">
          <ac:chgData name="Westhoff, Amir" userId="8d048e8d-3042-4117-b8b6-5f176bda5671" providerId="ADAL" clId="{5AF1FC53-AFEF-4854-BDA8-B51B0122CBF2}" dt="2024-09-17T20:44:09.085" v="2784" actId="207"/>
          <ac:spMkLst>
            <pc:docMk/>
            <pc:sldMk cId="2764115968" sldId="2145706657"/>
            <ac:spMk id="7" creationId="{1AA1DA83-3B36-1B0C-575C-3D6878B97096}"/>
          </ac:spMkLst>
        </pc:spChg>
        <pc:spChg chg="add mod">
          <ac:chgData name="Westhoff, Amir" userId="8d048e8d-3042-4117-b8b6-5f176bda5671" providerId="ADAL" clId="{5AF1FC53-AFEF-4854-BDA8-B51B0122CBF2}" dt="2024-09-17T20:44:19.059" v="2793" actId="5793"/>
          <ac:spMkLst>
            <pc:docMk/>
            <pc:sldMk cId="2764115968" sldId="2145706657"/>
            <ac:spMk id="8" creationId="{B845A1B4-E75D-1BF1-ED31-D2EE4B8F9850}"/>
          </ac:spMkLst>
        </pc:spChg>
        <pc:spChg chg="mod">
          <ac:chgData name="Westhoff, Amir" userId="8d048e8d-3042-4117-b8b6-5f176bda5671" providerId="ADAL" clId="{5AF1FC53-AFEF-4854-BDA8-B51B0122CBF2}" dt="2024-09-17T20:44:05.516" v="2783"/>
          <ac:spMkLst>
            <pc:docMk/>
            <pc:sldMk cId="2764115968" sldId="2145706657"/>
            <ac:spMk id="10" creationId="{003FAB60-F87A-4871-503F-B548C4B46B2D}"/>
          </ac:spMkLst>
        </pc:spChg>
        <pc:spChg chg="mod">
          <ac:chgData name="Westhoff, Amir" userId="8d048e8d-3042-4117-b8b6-5f176bda5671" providerId="ADAL" clId="{5AF1FC53-AFEF-4854-BDA8-B51B0122CBF2}" dt="2024-09-17T20:44:05.516" v="2783"/>
          <ac:spMkLst>
            <pc:docMk/>
            <pc:sldMk cId="2764115968" sldId="2145706657"/>
            <ac:spMk id="12" creationId="{23BD7052-17E1-7B98-D00D-CA8130C2BB98}"/>
          </ac:spMkLst>
        </pc:spChg>
        <pc:spChg chg="mod">
          <ac:chgData name="Westhoff, Amir" userId="8d048e8d-3042-4117-b8b6-5f176bda5671" providerId="ADAL" clId="{5AF1FC53-AFEF-4854-BDA8-B51B0122CBF2}" dt="2024-09-17T20:44:05.516" v="2783"/>
          <ac:spMkLst>
            <pc:docMk/>
            <pc:sldMk cId="2764115968" sldId="2145706657"/>
            <ac:spMk id="13" creationId="{70855CC4-21B2-CD69-8893-BA6036FB4D0F}"/>
          </ac:spMkLst>
        </pc:spChg>
        <pc:spChg chg="mod">
          <ac:chgData name="Westhoff, Amir" userId="8d048e8d-3042-4117-b8b6-5f176bda5671" providerId="ADAL" clId="{5AF1FC53-AFEF-4854-BDA8-B51B0122CBF2}" dt="2024-09-17T20:44:05.516" v="2783"/>
          <ac:spMkLst>
            <pc:docMk/>
            <pc:sldMk cId="2764115968" sldId="2145706657"/>
            <ac:spMk id="14" creationId="{1BF31B76-99A4-3BCF-E1D3-63236A1655D7}"/>
          </ac:spMkLst>
        </pc:spChg>
        <pc:spChg chg="mod">
          <ac:chgData name="Westhoff, Amir" userId="8d048e8d-3042-4117-b8b6-5f176bda5671" providerId="ADAL" clId="{5AF1FC53-AFEF-4854-BDA8-B51B0122CBF2}" dt="2024-09-17T20:44:05.516" v="2783"/>
          <ac:spMkLst>
            <pc:docMk/>
            <pc:sldMk cId="2764115968" sldId="2145706657"/>
            <ac:spMk id="15" creationId="{DBAD59CB-4464-014B-3BF6-8BE4A0C46BDE}"/>
          </ac:spMkLst>
        </pc:spChg>
        <pc:spChg chg="mod">
          <ac:chgData name="Westhoff, Amir" userId="8d048e8d-3042-4117-b8b6-5f176bda5671" providerId="ADAL" clId="{5AF1FC53-AFEF-4854-BDA8-B51B0122CBF2}" dt="2024-09-17T20:44:05.516" v="2783"/>
          <ac:spMkLst>
            <pc:docMk/>
            <pc:sldMk cId="2764115968" sldId="2145706657"/>
            <ac:spMk id="16" creationId="{283801A4-8396-51DB-EE18-FB56A170ED4F}"/>
          </ac:spMkLst>
        </pc:spChg>
        <pc:spChg chg="mod">
          <ac:chgData name="Westhoff, Amir" userId="8d048e8d-3042-4117-b8b6-5f176bda5671" providerId="ADAL" clId="{5AF1FC53-AFEF-4854-BDA8-B51B0122CBF2}" dt="2024-09-17T20:44:05.516" v="2783"/>
          <ac:spMkLst>
            <pc:docMk/>
            <pc:sldMk cId="2764115968" sldId="2145706657"/>
            <ac:spMk id="21" creationId="{C9271096-6460-278B-DCD0-12625D9914C4}"/>
          </ac:spMkLst>
        </pc:spChg>
        <pc:spChg chg="mod">
          <ac:chgData name="Westhoff, Amir" userId="8d048e8d-3042-4117-b8b6-5f176bda5671" providerId="ADAL" clId="{5AF1FC53-AFEF-4854-BDA8-B51B0122CBF2}" dt="2024-09-17T20:44:05.516" v="2783"/>
          <ac:spMkLst>
            <pc:docMk/>
            <pc:sldMk cId="2764115968" sldId="2145706657"/>
            <ac:spMk id="22" creationId="{F9D7284D-E925-D43F-DF73-A47370B0DA4D}"/>
          </ac:spMkLst>
        </pc:spChg>
        <pc:spChg chg="mod">
          <ac:chgData name="Westhoff, Amir" userId="8d048e8d-3042-4117-b8b6-5f176bda5671" providerId="ADAL" clId="{5AF1FC53-AFEF-4854-BDA8-B51B0122CBF2}" dt="2024-09-17T20:44:05.516" v="2783"/>
          <ac:spMkLst>
            <pc:docMk/>
            <pc:sldMk cId="2764115968" sldId="2145706657"/>
            <ac:spMk id="23" creationId="{9303AF79-175E-BB4E-C76C-28B157DA941C}"/>
          </ac:spMkLst>
        </pc:spChg>
        <pc:spChg chg="mod">
          <ac:chgData name="Westhoff, Amir" userId="8d048e8d-3042-4117-b8b6-5f176bda5671" providerId="ADAL" clId="{5AF1FC53-AFEF-4854-BDA8-B51B0122CBF2}" dt="2024-09-17T20:44:05.516" v="2783"/>
          <ac:spMkLst>
            <pc:docMk/>
            <pc:sldMk cId="2764115968" sldId="2145706657"/>
            <ac:spMk id="24" creationId="{CADB6122-E370-F73D-D7CA-7E838569864F}"/>
          </ac:spMkLst>
        </pc:spChg>
        <pc:spChg chg="mod">
          <ac:chgData name="Westhoff, Amir" userId="8d048e8d-3042-4117-b8b6-5f176bda5671" providerId="ADAL" clId="{5AF1FC53-AFEF-4854-BDA8-B51B0122CBF2}" dt="2024-09-17T20:44:05.516" v="2783"/>
          <ac:spMkLst>
            <pc:docMk/>
            <pc:sldMk cId="2764115968" sldId="2145706657"/>
            <ac:spMk id="25" creationId="{9F5B2379-9A5D-BCB1-05D8-A5EB493B09AA}"/>
          </ac:spMkLst>
        </pc:spChg>
        <pc:spChg chg="mod">
          <ac:chgData name="Westhoff, Amir" userId="8d048e8d-3042-4117-b8b6-5f176bda5671" providerId="ADAL" clId="{5AF1FC53-AFEF-4854-BDA8-B51B0122CBF2}" dt="2024-09-17T20:44:05.516" v="2783"/>
          <ac:spMkLst>
            <pc:docMk/>
            <pc:sldMk cId="2764115968" sldId="2145706657"/>
            <ac:spMk id="26" creationId="{5947CCC5-4524-4B05-7F76-65ECA4B9DB06}"/>
          </ac:spMkLst>
        </pc:spChg>
        <pc:spChg chg="mod">
          <ac:chgData name="Westhoff, Amir" userId="8d048e8d-3042-4117-b8b6-5f176bda5671" providerId="ADAL" clId="{5AF1FC53-AFEF-4854-BDA8-B51B0122CBF2}" dt="2024-09-17T20:44:05.516" v="2783"/>
          <ac:spMkLst>
            <pc:docMk/>
            <pc:sldMk cId="2764115968" sldId="2145706657"/>
            <ac:spMk id="27" creationId="{9778C6CD-9876-4EEC-BDA5-F2E348A219B6}"/>
          </ac:spMkLst>
        </pc:spChg>
        <pc:spChg chg="mod">
          <ac:chgData name="Westhoff, Amir" userId="8d048e8d-3042-4117-b8b6-5f176bda5671" providerId="ADAL" clId="{5AF1FC53-AFEF-4854-BDA8-B51B0122CBF2}" dt="2024-09-17T20:44:05.516" v="2783"/>
          <ac:spMkLst>
            <pc:docMk/>
            <pc:sldMk cId="2764115968" sldId="2145706657"/>
            <ac:spMk id="29" creationId="{0AF6639B-4895-C0EC-DD75-5CBFBE4B7EE4}"/>
          </ac:spMkLst>
        </pc:spChg>
        <pc:spChg chg="mod">
          <ac:chgData name="Westhoff, Amir" userId="8d048e8d-3042-4117-b8b6-5f176bda5671" providerId="ADAL" clId="{5AF1FC53-AFEF-4854-BDA8-B51B0122CBF2}" dt="2024-09-17T20:44:05.516" v="2783"/>
          <ac:spMkLst>
            <pc:docMk/>
            <pc:sldMk cId="2764115968" sldId="2145706657"/>
            <ac:spMk id="30" creationId="{F9DC82ED-7AC1-E812-981F-2F178F71A469}"/>
          </ac:spMkLst>
        </pc:spChg>
        <pc:spChg chg="mod">
          <ac:chgData name="Westhoff, Amir" userId="8d048e8d-3042-4117-b8b6-5f176bda5671" providerId="ADAL" clId="{5AF1FC53-AFEF-4854-BDA8-B51B0122CBF2}" dt="2024-09-17T20:44:05.516" v="2783"/>
          <ac:spMkLst>
            <pc:docMk/>
            <pc:sldMk cId="2764115968" sldId="2145706657"/>
            <ac:spMk id="31" creationId="{0528D895-B2C1-2CA1-1049-6B7481627BC0}"/>
          </ac:spMkLst>
        </pc:spChg>
        <pc:spChg chg="mod">
          <ac:chgData name="Westhoff, Amir" userId="8d048e8d-3042-4117-b8b6-5f176bda5671" providerId="ADAL" clId="{5AF1FC53-AFEF-4854-BDA8-B51B0122CBF2}" dt="2024-09-17T20:44:05.516" v="2783"/>
          <ac:spMkLst>
            <pc:docMk/>
            <pc:sldMk cId="2764115968" sldId="2145706657"/>
            <ac:spMk id="33" creationId="{117BAC71-686A-25E2-44F2-80B12809C018}"/>
          </ac:spMkLst>
        </pc:spChg>
        <pc:spChg chg="mod">
          <ac:chgData name="Westhoff, Amir" userId="8d048e8d-3042-4117-b8b6-5f176bda5671" providerId="ADAL" clId="{5AF1FC53-AFEF-4854-BDA8-B51B0122CBF2}" dt="2024-09-17T20:44:05.516" v="2783"/>
          <ac:spMkLst>
            <pc:docMk/>
            <pc:sldMk cId="2764115968" sldId="2145706657"/>
            <ac:spMk id="35" creationId="{F5359DBC-F9BF-5BFE-309F-8BADB5C4B0B9}"/>
          </ac:spMkLst>
        </pc:spChg>
        <pc:spChg chg="mod">
          <ac:chgData name="Westhoff, Amir" userId="8d048e8d-3042-4117-b8b6-5f176bda5671" providerId="ADAL" clId="{5AF1FC53-AFEF-4854-BDA8-B51B0122CBF2}" dt="2024-09-17T20:44:05.516" v="2783"/>
          <ac:spMkLst>
            <pc:docMk/>
            <pc:sldMk cId="2764115968" sldId="2145706657"/>
            <ac:spMk id="36" creationId="{CC699893-9C7A-0FE6-DD03-CE0251C7D326}"/>
          </ac:spMkLst>
        </pc:spChg>
        <pc:spChg chg="mod">
          <ac:chgData name="Westhoff, Amir" userId="8d048e8d-3042-4117-b8b6-5f176bda5671" providerId="ADAL" clId="{5AF1FC53-AFEF-4854-BDA8-B51B0122CBF2}" dt="2024-09-17T20:44:05.516" v="2783"/>
          <ac:spMkLst>
            <pc:docMk/>
            <pc:sldMk cId="2764115968" sldId="2145706657"/>
            <ac:spMk id="37" creationId="{3C60FC90-344E-149F-C958-0A9A01846B19}"/>
          </ac:spMkLst>
        </pc:spChg>
        <pc:spChg chg="mod">
          <ac:chgData name="Westhoff, Amir" userId="8d048e8d-3042-4117-b8b6-5f176bda5671" providerId="ADAL" clId="{5AF1FC53-AFEF-4854-BDA8-B51B0122CBF2}" dt="2024-09-17T20:44:05.516" v="2783"/>
          <ac:spMkLst>
            <pc:docMk/>
            <pc:sldMk cId="2764115968" sldId="2145706657"/>
            <ac:spMk id="38" creationId="{EB35EC62-B8E5-A468-D6D5-AE1D7B1C911B}"/>
          </ac:spMkLst>
        </pc:spChg>
        <pc:spChg chg="mod">
          <ac:chgData name="Westhoff, Amir" userId="8d048e8d-3042-4117-b8b6-5f176bda5671" providerId="ADAL" clId="{5AF1FC53-AFEF-4854-BDA8-B51B0122CBF2}" dt="2024-09-17T20:44:05.516" v="2783"/>
          <ac:spMkLst>
            <pc:docMk/>
            <pc:sldMk cId="2764115968" sldId="2145706657"/>
            <ac:spMk id="39" creationId="{A92838CD-18DD-CD50-A0E2-CA3951C5DC02}"/>
          </ac:spMkLst>
        </pc:spChg>
        <pc:spChg chg="mod">
          <ac:chgData name="Westhoff, Amir" userId="8d048e8d-3042-4117-b8b6-5f176bda5671" providerId="ADAL" clId="{5AF1FC53-AFEF-4854-BDA8-B51B0122CBF2}" dt="2024-09-17T20:44:05.516" v="2783"/>
          <ac:spMkLst>
            <pc:docMk/>
            <pc:sldMk cId="2764115968" sldId="2145706657"/>
            <ac:spMk id="41" creationId="{58B76E0C-4FA4-A5F9-58F6-5A4BAAD3B84B}"/>
          </ac:spMkLst>
        </pc:spChg>
        <pc:spChg chg="mod">
          <ac:chgData name="Westhoff, Amir" userId="8d048e8d-3042-4117-b8b6-5f176bda5671" providerId="ADAL" clId="{5AF1FC53-AFEF-4854-BDA8-B51B0122CBF2}" dt="2024-09-17T20:44:05.516" v="2783"/>
          <ac:spMkLst>
            <pc:docMk/>
            <pc:sldMk cId="2764115968" sldId="2145706657"/>
            <ac:spMk id="43" creationId="{EC44E7FB-EC28-597B-EEE8-283382021FCA}"/>
          </ac:spMkLst>
        </pc:spChg>
        <pc:spChg chg="mod">
          <ac:chgData name="Westhoff, Amir" userId="8d048e8d-3042-4117-b8b6-5f176bda5671" providerId="ADAL" clId="{5AF1FC53-AFEF-4854-BDA8-B51B0122CBF2}" dt="2024-09-17T20:44:05.516" v="2783"/>
          <ac:spMkLst>
            <pc:docMk/>
            <pc:sldMk cId="2764115968" sldId="2145706657"/>
            <ac:spMk id="44" creationId="{1E846ABD-C514-8FDA-FCB9-777381DEB9EB}"/>
          </ac:spMkLst>
        </pc:spChg>
        <pc:spChg chg="mod">
          <ac:chgData name="Westhoff, Amir" userId="8d048e8d-3042-4117-b8b6-5f176bda5671" providerId="ADAL" clId="{5AF1FC53-AFEF-4854-BDA8-B51B0122CBF2}" dt="2024-09-17T20:44:05.516" v="2783"/>
          <ac:spMkLst>
            <pc:docMk/>
            <pc:sldMk cId="2764115968" sldId="2145706657"/>
            <ac:spMk id="46" creationId="{36D3314A-FFDB-F1E8-53DF-4C4344F30633}"/>
          </ac:spMkLst>
        </pc:spChg>
        <pc:spChg chg="mod">
          <ac:chgData name="Westhoff, Amir" userId="8d048e8d-3042-4117-b8b6-5f176bda5671" providerId="ADAL" clId="{5AF1FC53-AFEF-4854-BDA8-B51B0122CBF2}" dt="2024-09-17T20:44:05.516" v="2783"/>
          <ac:spMkLst>
            <pc:docMk/>
            <pc:sldMk cId="2764115968" sldId="2145706657"/>
            <ac:spMk id="49" creationId="{A8118031-2ACA-17A7-4E02-D61F97DE5CD4}"/>
          </ac:spMkLst>
        </pc:spChg>
        <pc:spChg chg="mod">
          <ac:chgData name="Westhoff, Amir" userId="8d048e8d-3042-4117-b8b6-5f176bda5671" providerId="ADAL" clId="{5AF1FC53-AFEF-4854-BDA8-B51B0122CBF2}" dt="2024-09-17T20:44:05.516" v="2783"/>
          <ac:spMkLst>
            <pc:docMk/>
            <pc:sldMk cId="2764115968" sldId="2145706657"/>
            <ac:spMk id="50" creationId="{35EDC5CA-CE60-1CD5-E790-CEFE08A0D35D}"/>
          </ac:spMkLst>
        </pc:spChg>
        <pc:spChg chg="mod">
          <ac:chgData name="Westhoff, Amir" userId="8d048e8d-3042-4117-b8b6-5f176bda5671" providerId="ADAL" clId="{5AF1FC53-AFEF-4854-BDA8-B51B0122CBF2}" dt="2024-09-17T20:44:05.516" v="2783"/>
          <ac:spMkLst>
            <pc:docMk/>
            <pc:sldMk cId="2764115968" sldId="2145706657"/>
            <ac:spMk id="51" creationId="{AD1BF8C8-5F53-0D6B-0D96-C839F9DCEC20}"/>
          </ac:spMkLst>
        </pc:spChg>
        <pc:spChg chg="mod">
          <ac:chgData name="Westhoff, Amir" userId="8d048e8d-3042-4117-b8b6-5f176bda5671" providerId="ADAL" clId="{5AF1FC53-AFEF-4854-BDA8-B51B0122CBF2}" dt="2024-09-17T20:44:05.516" v="2783"/>
          <ac:spMkLst>
            <pc:docMk/>
            <pc:sldMk cId="2764115968" sldId="2145706657"/>
            <ac:spMk id="52" creationId="{7BF0B84C-9368-2A02-6D9E-1CD78AACE8FE}"/>
          </ac:spMkLst>
        </pc:spChg>
        <pc:spChg chg="mod">
          <ac:chgData name="Westhoff, Amir" userId="8d048e8d-3042-4117-b8b6-5f176bda5671" providerId="ADAL" clId="{5AF1FC53-AFEF-4854-BDA8-B51B0122CBF2}" dt="2024-09-17T20:44:05.516" v="2783"/>
          <ac:spMkLst>
            <pc:docMk/>
            <pc:sldMk cId="2764115968" sldId="2145706657"/>
            <ac:spMk id="54" creationId="{B29BDBE1-D6F9-0EEE-DC56-4F1508B98370}"/>
          </ac:spMkLst>
        </pc:spChg>
        <pc:spChg chg="mod">
          <ac:chgData name="Westhoff, Amir" userId="8d048e8d-3042-4117-b8b6-5f176bda5671" providerId="ADAL" clId="{5AF1FC53-AFEF-4854-BDA8-B51B0122CBF2}" dt="2024-09-17T20:44:05.516" v="2783"/>
          <ac:spMkLst>
            <pc:docMk/>
            <pc:sldMk cId="2764115968" sldId="2145706657"/>
            <ac:spMk id="56" creationId="{5A40EE24-8EC4-84F5-53D8-5B72068651D7}"/>
          </ac:spMkLst>
        </pc:spChg>
        <pc:spChg chg="mod">
          <ac:chgData name="Westhoff, Amir" userId="8d048e8d-3042-4117-b8b6-5f176bda5671" providerId="ADAL" clId="{5AF1FC53-AFEF-4854-BDA8-B51B0122CBF2}" dt="2024-09-17T20:44:05.516" v="2783"/>
          <ac:spMkLst>
            <pc:docMk/>
            <pc:sldMk cId="2764115968" sldId="2145706657"/>
            <ac:spMk id="57" creationId="{FDDFC1B1-0A3B-937B-6C59-FF06CC94F4E2}"/>
          </ac:spMkLst>
        </pc:spChg>
        <pc:spChg chg="mod">
          <ac:chgData name="Westhoff, Amir" userId="8d048e8d-3042-4117-b8b6-5f176bda5671" providerId="ADAL" clId="{5AF1FC53-AFEF-4854-BDA8-B51B0122CBF2}" dt="2024-09-17T20:44:05.516" v="2783"/>
          <ac:spMkLst>
            <pc:docMk/>
            <pc:sldMk cId="2764115968" sldId="2145706657"/>
            <ac:spMk id="58" creationId="{0D0EA55F-5A4A-FD42-D787-55E8CC061305}"/>
          </ac:spMkLst>
        </pc:spChg>
        <pc:spChg chg="mod">
          <ac:chgData name="Westhoff, Amir" userId="8d048e8d-3042-4117-b8b6-5f176bda5671" providerId="ADAL" clId="{5AF1FC53-AFEF-4854-BDA8-B51B0122CBF2}" dt="2024-09-17T20:44:05.516" v="2783"/>
          <ac:spMkLst>
            <pc:docMk/>
            <pc:sldMk cId="2764115968" sldId="2145706657"/>
            <ac:spMk id="59" creationId="{911E2231-D921-BF23-2625-1BC3E97D13A6}"/>
          </ac:spMkLst>
        </pc:spChg>
        <pc:spChg chg="mod">
          <ac:chgData name="Westhoff, Amir" userId="8d048e8d-3042-4117-b8b6-5f176bda5671" providerId="ADAL" clId="{5AF1FC53-AFEF-4854-BDA8-B51B0122CBF2}" dt="2024-09-17T20:44:05.516" v="2783"/>
          <ac:spMkLst>
            <pc:docMk/>
            <pc:sldMk cId="2764115968" sldId="2145706657"/>
            <ac:spMk id="60" creationId="{7CFE033A-CF96-B1B9-A8BD-6AACE8819A55}"/>
          </ac:spMkLst>
        </pc:spChg>
        <pc:spChg chg="mod">
          <ac:chgData name="Westhoff, Amir" userId="8d048e8d-3042-4117-b8b6-5f176bda5671" providerId="ADAL" clId="{5AF1FC53-AFEF-4854-BDA8-B51B0122CBF2}" dt="2024-09-17T20:44:05.516" v="2783"/>
          <ac:spMkLst>
            <pc:docMk/>
            <pc:sldMk cId="2764115968" sldId="2145706657"/>
            <ac:spMk id="61" creationId="{52B455B4-D4C2-5879-231D-2623A9695C9B}"/>
          </ac:spMkLst>
        </pc:spChg>
        <pc:spChg chg="mod">
          <ac:chgData name="Westhoff, Amir" userId="8d048e8d-3042-4117-b8b6-5f176bda5671" providerId="ADAL" clId="{5AF1FC53-AFEF-4854-BDA8-B51B0122CBF2}" dt="2024-09-17T20:44:05.516" v="2783"/>
          <ac:spMkLst>
            <pc:docMk/>
            <pc:sldMk cId="2764115968" sldId="2145706657"/>
            <ac:spMk id="62" creationId="{512B9DC8-87B5-E5BB-CCF1-EFC55EBCA829}"/>
          </ac:spMkLst>
        </pc:spChg>
        <pc:spChg chg="mod">
          <ac:chgData name="Westhoff, Amir" userId="8d048e8d-3042-4117-b8b6-5f176bda5671" providerId="ADAL" clId="{5AF1FC53-AFEF-4854-BDA8-B51B0122CBF2}" dt="2024-09-17T20:44:05.516" v="2783"/>
          <ac:spMkLst>
            <pc:docMk/>
            <pc:sldMk cId="2764115968" sldId="2145706657"/>
            <ac:spMk id="63" creationId="{3B591EAC-76B5-2091-26CB-C23D86BFC305}"/>
          </ac:spMkLst>
        </pc:spChg>
        <pc:spChg chg="mod">
          <ac:chgData name="Westhoff, Amir" userId="8d048e8d-3042-4117-b8b6-5f176bda5671" providerId="ADAL" clId="{5AF1FC53-AFEF-4854-BDA8-B51B0122CBF2}" dt="2024-09-17T20:44:05.516" v="2783"/>
          <ac:spMkLst>
            <pc:docMk/>
            <pc:sldMk cId="2764115968" sldId="2145706657"/>
            <ac:spMk id="64" creationId="{F86420D2-EBBD-A71D-BC80-B660804416FC}"/>
          </ac:spMkLst>
        </pc:spChg>
        <pc:spChg chg="mod">
          <ac:chgData name="Westhoff, Amir" userId="8d048e8d-3042-4117-b8b6-5f176bda5671" providerId="ADAL" clId="{5AF1FC53-AFEF-4854-BDA8-B51B0122CBF2}" dt="2024-09-17T20:44:05.516" v="2783"/>
          <ac:spMkLst>
            <pc:docMk/>
            <pc:sldMk cId="2764115968" sldId="2145706657"/>
            <ac:spMk id="65" creationId="{C4AAB097-E043-BFCD-3E13-DEC5C3774914}"/>
          </ac:spMkLst>
        </pc:spChg>
        <pc:spChg chg="mod">
          <ac:chgData name="Westhoff, Amir" userId="8d048e8d-3042-4117-b8b6-5f176bda5671" providerId="ADAL" clId="{5AF1FC53-AFEF-4854-BDA8-B51B0122CBF2}" dt="2024-09-17T20:44:05.516" v="2783"/>
          <ac:spMkLst>
            <pc:docMk/>
            <pc:sldMk cId="2764115968" sldId="2145706657"/>
            <ac:spMk id="66" creationId="{DFAABFD8-2A46-7AB8-2940-8A87C7DC6C43}"/>
          </ac:spMkLst>
        </pc:spChg>
        <pc:spChg chg="mod">
          <ac:chgData name="Westhoff, Amir" userId="8d048e8d-3042-4117-b8b6-5f176bda5671" providerId="ADAL" clId="{5AF1FC53-AFEF-4854-BDA8-B51B0122CBF2}" dt="2024-09-17T20:44:05.516" v="2783"/>
          <ac:spMkLst>
            <pc:docMk/>
            <pc:sldMk cId="2764115968" sldId="2145706657"/>
            <ac:spMk id="67" creationId="{CEFAD9A6-B10D-0B5C-9FD8-E7E0F3E44ED5}"/>
          </ac:spMkLst>
        </pc:spChg>
        <pc:spChg chg="mod">
          <ac:chgData name="Westhoff, Amir" userId="8d048e8d-3042-4117-b8b6-5f176bda5671" providerId="ADAL" clId="{5AF1FC53-AFEF-4854-BDA8-B51B0122CBF2}" dt="2024-09-17T20:44:05.516" v="2783"/>
          <ac:spMkLst>
            <pc:docMk/>
            <pc:sldMk cId="2764115968" sldId="2145706657"/>
            <ac:spMk id="68" creationId="{0E53B2AA-4B2A-2BDB-E41C-72AEB435A86C}"/>
          </ac:spMkLst>
        </pc:spChg>
        <pc:spChg chg="mod">
          <ac:chgData name="Westhoff, Amir" userId="8d048e8d-3042-4117-b8b6-5f176bda5671" providerId="ADAL" clId="{5AF1FC53-AFEF-4854-BDA8-B51B0122CBF2}" dt="2024-09-17T20:44:05.516" v="2783"/>
          <ac:spMkLst>
            <pc:docMk/>
            <pc:sldMk cId="2764115968" sldId="2145706657"/>
            <ac:spMk id="69" creationId="{A8E8F08C-6227-7586-0AAA-863EA97409AD}"/>
          </ac:spMkLst>
        </pc:spChg>
        <pc:spChg chg="mod">
          <ac:chgData name="Westhoff, Amir" userId="8d048e8d-3042-4117-b8b6-5f176bda5671" providerId="ADAL" clId="{5AF1FC53-AFEF-4854-BDA8-B51B0122CBF2}" dt="2024-09-17T20:44:05.516" v="2783"/>
          <ac:spMkLst>
            <pc:docMk/>
            <pc:sldMk cId="2764115968" sldId="2145706657"/>
            <ac:spMk id="70" creationId="{5702B745-D42F-3BAA-BB4E-CE3B694FABB1}"/>
          </ac:spMkLst>
        </pc:spChg>
        <pc:spChg chg="mod">
          <ac:chgData name="Westhoff, Amir" userId="8d048e8d-3042-4117-b8b6-5f176bda5671" providerId="ADAL" clId="{5AF1FC53-AFEF-4854-BDA8-B51B0122CBF2}" dt="2024-09-17T20:44:05.516" v="2783"/>
          <ac:spMkLst>
            <pc:docMk/>
            <pc:sldMk cId="2764115968" sldId="2145706657"/>
            <ac:spMk id="71" creationId="{2B2BCD16-A26F-DAF8-7BA5-259D9E5A0D66}"/>
          </ac:spMkLst>
        </pc:spChg>
        <pc:spChg chg="mod">
          <ac:chgData name="Westhoff, Amir" userId="8d048e8d-3042-4117-b8b6-5f176bda5671" providerId="ADAL" clId="{5AF1FC53-AFEF-4854-BDA8-B51B0122CBF2}" dt="2024-09-17T20:44:05.516" v="2783"/>
          <ac:spMkLst>
            <pc:docMk/>
            <pc:sldMk cId="2764115968" sldId="2145706657"/>
            <ac:spMk id="72" creationId="{F0B91B54-B01A-4385-79EB-E98C411A56BE}"/>
          </ac:spMkLst>
        </pc:spChg>
        <pc:spChg chg="mod">
          <ac:chgData name="Westhoff, Amir" userId="8d048e8d-3042-4117-b8b6-5f176bda5671" providerId="ADAL" clId="{5AF1FC53-AFEF-4854-BDA8-B51B0122CBF2}" dt="2024-09-17T20:44:05.516" v="2783"/>
          <ac:spMkLst>
            <pc:docMk/>
            <pc:sldMk cId="2764115968" sldId="2145706657"/>
            <ac:spMk id="73" creationId="{A3D42395-8725-0E1C-A699-83FCF4AB85D0}"/>
          </ac:spMkLst>
        </pc:spChg>
        <pc:spChg chg="mod">
          <ac:chgData name="Westhoff, Amir" userId="8d048e8d-3042-4117-b8b6-5f176bda5671" providerId="ADAL" clId="{5AF1FC53-AFEF-4854-BDA8-B51B0122CBF2}" dt="2024-09-17T20:44:05.516" v="2783"/>
          <ac:spMkLst>
            <pc:docMk/>
            <pc:sldMk cId="2764115968" sldId="2145706657"/>
            <ac:spMk id="74" creationId="{DF1DD344-7AFC-77F8-FB69-71AFC9A6A5F6}"/>
          </ac:spMkLst>
        </pc:spChg>
        <pc:spChg chg="mod">
          <ac:chgData name="Westhoff, Amir" userId="8d048e8d-3042-4117-b8b6-5f176bda5671" providerId="ADAL" clId="{5AF1FC53-AFEF-4854-BDA8-B51B0122CBF2}" dt="2024-09-17T20:44:05.516" v="2783"/>
          <ac:spMkLst>
            <pc:docMk/>
            <pc:sldMk cId="2764115968" sldId="2145706657"/>
            <ac:spMk id="75" creationId="{DCF673E2-08FF-C8B6-4843-D4FBB8EF267F}"/>
          </ac:spMkLst>
        </pc:spChg>
        <pc:spChg chg="mod">
          <ac:chgData name="Westhoff, Amir" userId="8d048e8d-3042-4117-b8b6-5f176bda5671" providerId="ADAL" clId="{5AF1FC53-AFEF-4854-BDA8-B51B0122CBF2}" dt="2024-09-17T20:44:05.516" v="2783"/>
          <ac:spMkLst>
            <pc:docMk/>
            <pc:sldMk cId="2764115968" sldId="2145706657"/>
            <ac:spMk id="76" creationId="{9D9BC03B-B195-C894-7926-F200435BDCD9}"/>
          </ac:spMkLst>
        </pc:spChg>
        <pc:spChg chg="mod">
          <ac:chgData name="Westhoff, Amir" userId="8d048e8d-3042-4117-b8b6-5f176bda5671" providerId="ADAL" clId="{5AF1FC53-AFEF-4854-BDA8-B51B0122CBF2}" dt="2024-09-17T20:44:05.516" v="2783"/>
          <ac:spMkLst>
            <pc:docMk/>
            <pc:sldMk cId="2764115968" sldId="2145706657"/>
            <ac:spMk id="77" creationId="{89A730F9-E0AB-DE01-E66C-6C664980ED72}"/>
          </ac:spMkLst>
        </pc:spChg>
        <pc:spChg chg="mod">
          <ac:chgData name="Westhoff, Amir" userId="8d048e8d-3042-4117-b8b6-5f176bda5671" providerId="ADAL" clId="{5AF1FC53-AFEF-4854-BDA8-B51B0122CBF2}" dt="2024-09-17T20:44:05.516" v="2783"/>
          <ac:spMkLst>
            <pc:docMk/>
            <pc:sldMk cId="2764115968" sldId="2145706657"/>
            <ac:spMk id="78" creationId="{6BDE2E30-43FA-3552-9A8B-B2A1ED1CFBB7}"/>
          </ac:spMkLst>
        </pc:spChg>
        <pc:spChg chg="mod">
          <ac:chgData name="Westhoff, Amir" userId="8d048e8d-3042-4117-b8b6-5f176bda5671" providerId="ADAL" clId="{5AF1FC53-AFEF-4854-BDA8-B51B0122CBF2}" dt="2024-09-17T20:44:05.516" v="2783"/>
          <ac:spMkLst>
            <pc:docMk/>
            <pc:sldMk cId="2764115968" sldId="2145706657"/>
            <ac:spMk id="79" creationId="{5D3C1B20-72D9-AE40-1648-5F117AD353C2}"/>
          </ac:spMkLst>
        </pc:spChg>
        <pc:spChg chg="mod">
          <ac:chgData name="Westhoff, Amir" userId="8d048e8d-3042-4117-b8b6-5f176bda5671" providerId="ADAL" clId="{5AF1FC53-AFEF-4854-BDA8-B51B0122CBF2}" dt="2024-09-17T20:44:05.516" v="2783"/>
          <ac:spMkLst>
            <pc:docMk/>
            <pc:sldMk cId="2764115968" sldId="2145706657"/>
            <ac:spMk id="80" creationId="{5B6B4041-F48E-4F41-9F1C-14EA333A5C2C}"/>
          </ac:spMkLst>
        </pc:spChg>
        <pc:spChg chg="mod">
          <ac:chgData name="Westhoff, Amir" userId="8d048e8d-3042-4117-b8b6-5f176bda5671" providerId="ADAL" clId="{5AF1FC53-AFEF-4854-BDA8-B51B0122CBF2}" dt="2024-09-17T20:44:05.516" v="2783"/>
          <ac:spMkLst>
            <pc:docMk/>
            <pc:sldMk cId="2764115968" sldId="2145706657"/>
            <ac:spMk id="81" creationId="{F1C21939-2019-9361-9900-4AD8965275EA}"/>
          </ac:spMkLst>
        </pc:spChg>
        <pc:spChg chg="mod">
          <ac:chgData name="Westhoff, Amir" userId="8d048e8d-3042-4117-b8b6-5f176bda5671" providerId="ADAL" clId="{5AF1FC53-AFEF-4854-BDA8-B51B0122CBF2}" dt="2024-09-17T20:44:05.516" v="2783"/>
          <ac:spMkLst>
            <pc:docMk/>
            <pc:sldMk cId="2764115968" sldId="2145706657"/>
            <ac:spMk id="82" creationId="{B49987A9-29E1-26BB-4E79-A8506E5185B4}"/>
          </ac:spMkLst>
        </pc:spChg>
        <pc:spChg chg="mod">
          <ac:chgData name="Westhoff, Amir" userId="8d048e8d-3042-4117-b8b6-5f176bda5671" providerId="ADAL" clId="{5AF1FC53-AFEF-4854-BDA8-B51B0122CBF2}" dt="2024-09-17T20:44:05.516" v="2783"/>
          <ac:spMkLst>
            <pc:docMk/>
            <pc:sldMk cId="2764115968" sldId="2145706657"/>
            <ac:spMk id="83" creationId="{8DCA7CAC-3A8D-77CC-37A5-22B0151C2915}"/>
          </ac:spMkLst>
        </pc:spChg>
        <pc:spChg chg="mod">
          <ac:chgData name="Westhoff, Amir" userId="8d048e8d-3042-4117-b8b6-5f176bda5671" providerId="ADAL" clId="{5AF1FC53-AFEF-4854-BDA8-B51B0122CBF2}" dt="2024-09-17T20:44:05.516" v="2783"/>
          <ac:spMkLst>
            <pc:docMk/>
            <pc:sldMk cId="2764115968" sldId="2145706657"/>
            <ac:spMk id="84" creationId="{FAD21044-F79A-F859-58DE-E61D16BC3A86}"/>
          </ac:spMkLst>
        </pc:spChg>
        <pc:spChg chg="mod">
          <ac:chgData name="Westhoff, Amir" userId="8d048e8d-3042-4117-b8b6-5f176bda5671" providerId="ADAL" clId="{5AF1FC53-AFEF-4854-BDA8-B51B0122CBF2}" dt="2024-09-17T20:44:05.516" v="2783"/>
          <ac:spMkLst>
            <pc:docMk/>
            <pc:sldMk cId="2764115968" sldId="2145706657"/>
            <ac:spMk id="85" creationId="{9A5F13FD-3A25-86D6-D1F6-B746C2E45782}"/>
          </ac:spMkLst>
        </pc:spChg>
        <pc:spChg chg="mod">
          <ac:chgData name="Westhoff, Amir" userId="8d048e8d-3042-4117-b8b6-5f176bda5671" providerId="ADAL" clId="{5AF1FC53-AFEF-4854-BDA8-B51B0122CBF2}" dt="2024-09-17T20:44:05.516" v="2783"/>
          <ac:spMkLst>
            <pc:docMk/>
            <pc:sldMk cId="2764115968" sldId="2145706657"/>
            <ac:spMk id="86" creationId="{5F2373C5-BC31-D78F-077B-786A3E6A7CAA}"/>
          </ac:spMkLst>
        </pc:spChg>
        <pc:spChg chg="mod">
          <ac:chgData name="Westhoff, Amir" userId="8d048e8d-3042-4117-b8b6-5f176bda5671" providerId="ADAL" clId="{5AF1FC53-AFEF-4854-BDA8-B51B0122CBF2}" dt="2024-09-17T20:44:05.516" v="2783"/>
          <ac:spMkLst>
            <pc:docMk/>
            <pc:sldMk cId="2764115968" sldId="2145706657"/>
            <ac:spMk id="87" creationId="{817A658F-4FAE-1C59-CBE3-164EEF2CE25B}"/>
          </ac:spMkLst>
        </pc:spChg>
        <pc:spChg chg="mod">
          <ac:chgData name="Westhoff, Amir" userId="8d048e8d-3042-4117-b8b6-5f176bda5671" providerId="ADAL" clId="{5AF1FC53-AFEF-4854-BDA8-B51B0122CBF2}" dt="2024-09-17T20:44:05.516" v="2783"/>
          <ac:spMkLst>
            <pc:docMk/>
            <pc:sldMk cId="2764115968" sldId="2145706657"/>
            <ac:spMk id="88" creationId="{CFD64BC8-D874-2AF0-5A3C-AE4C79EBE582}"/>
          </ac:spMkLst>
        </pc:spChg>
        <pc:spChg chg="mod">
          <ac:chgData name="Westhoff, Amir" userId="8d048e8d-3042-4117-b8b6-5f176bda5671" providerId="ADAL" clId="{5AF1FC53-AFEF-4854-BDA8-B51B0122CBF2}" dt="2024-09-17T20:44:05.516" v="2783"/>
          <ac:spMkLst>
            <pc:docMk/>
            <pc:sldMk cId="2764115968" sldId="2145706657"/>
            <ac:spMk id="89" creationId="{EFE9A641-0521-BB7D-F359-E0EEEF81269F}"/>
          </ac:spMkLst>
        </pc:spChg>
        <pc:spChg chg="mod">
          <ac:chgData name="Westhoff, Amir" userId="8d048e8d-3042-4117-b8b6-5f176bda5671" providerId="ADAL" clId="{5AF1FC53-AFEF-4854-BDA8-B51B0122CBF2}" dt="2024-09-17T20:44:05.516" v="2783"/>
          <ac:spMkLst>
            <pc:docMk/>
            <pc:sldMk cId="2764115968" sldId="2145706657"/>
            <ac:spMk id="90" creationId="{3A63A6AF-7CC8-E99C-7CE3-880F73ABE214}"/>
          </ac:spMkLst>
        </pc:spChg>
        <pc:spChg chg="mod">
          <ac:chgData name="Westhoff, Amir" userId="8d048e8d-3042-4117-b8b6-5f176bda5671" providerId="ADAL" clId="{5AF1FC53-AFEF-4854-BDA8-B51B0122CBF2}" dt="2024-09-17T20:44:05.516" v="2783"/>
          <ac:spMkLst>
            <pc:docMk/>
            <pc:sldMk cId="2764115968" sldId="2145706657"/>
            <ac:spMk id="91" creationId="{79FF58DE-96F7-F723-B14E-8B45CEF4EBDC}"/>
          </ac:spMkLst>
        </pc:spChg>
        <pc:spChg chg="mod">
          <ac:chgData name="Westhoff, Amir" userId="8d048e8d-3042-4117-b8b6-5f176bda5671" providerId="ADAL" clId="{5AF1FC53-AFEF-4854-BDA8-B51B0122CBF2}" dt="2024-09-17T20:44:05.516" v="2783"/>
          <ac:spMkLst>
            <pc:docMk/>
            <pc:sldMk cId="2764115968" sldId="2145706657"/>
            <ac:spMk id="92" creationId="{A1B07E12-18C2-9939-18B0-B48574AEBC48}"/>
          </ac:spMkLst>
        </pc:spChg>
        <pc:spChg chg="mod">
          <ac:chgData name="Westhoff, Amir" userId="8d048e8d-3042-4117-b8b6-5f176bda5671" providerId="ADAL" clId="{5AF1FC53-AFEF-4854-BDA8-B51B0122CBF2}" dt="2024-09-17T20:44:05.516" v="2783"/>
          <ac:spMkLst>
            <pc:docMk/>
            <pc:sldMk cId="2764115968" sldId="2145706657"/>
            <ac:spMk id="93" creationId="{8CA4E7CA-834C-184B-F6D0-32F481F43640}"/>
          </ac:spMkLst>
        </pc:spChg>
        <pc:spChg chg="mod">
          <ac:chgData name="Westhoff, Amir" userId="8d048e8d-3042-4117-b8b6-5f176bda5671" providerId="ADAL" clId="{5AF1FC53-AFEF-4854-BDA8-B51B0122CBF2}" dt="2024-09-17T20:44:05.516" v="2783"/>
          <ac:spMkLst>
            <pc:docMk/>
            <pc:sldMk cId="2764115968" sldId="2145706657"/>
            <ac:spMk id="94" creationId="{91D8AC6D-4307-47F4-DDD1-3CAA73B24DA8}"/>
          </ac:spMkLst>
        </pc:spChg>
        <pc:spChg chg="mod">
          <ac:chgData name="Westhoff, Amir" userId="8d048e8d-3042-4117-b8b6-5f176bda5671" providerId="ADAL" clId="{5AF1FC53-AFEF-4854-BDA8-B51B0122CBF2}" dt="2024-09-17T20:44:05.516" v="2783"/>
          <ac:spMkLst>
            <pc:docMk/>
            <pc:sldMk cId="2764115968" sldId="2145706657"/>
            <ac:spMk id="95" creationId="{B9E8D45B-9706-9D51-5BB2-2D7965165BE3}"/>
          </ac:spMkLst>
        </pc:spChg>
        <pc:spChg chg="mod">
          <ac:chgData name="Westhoff, Amir" userId="8d048e8d-3042-4117-b8b6-5f176bda5671" providerId="ADAL" clId="{5AF1FC53-AFEF-4854-BDA8-B51B0122CBF2}" dt="2024-09-17T20:44:05.516" v="2783"/>
          <ac:spMkLst>
            <pc:docMk/>
            <pc:sldMk cId="2764115968" sldId="2145706657"/>
            <ac:spMk id="96" creationId="{2AA02AFF-210C-5800-9EBF-3277AC691731}"/>
          </ac:spMkLst>
        </pc:spChg>
        <pc:spChg chg="mod">
          <ac:chgData name="Westhoff, Amir" userId="8d048e8d-3042-4117-b8b6-5f176bda5671" providerId="ADAL" clId="{5AF1FC53-AFEF-4854-BDA8-B51B0122CBF2}" dt="2024-09-17T20:44:05.516" v="2783"/>
          <ac:spMkLst>
            <pc:docMk/>
            <pc:sldMk cId="2764115968" sldId="2145706657"/>
            <ac:spMk id="97" creationId="{C1DAA05F-35E2-16DB-B507-5FC5880AB370}"/>
          </ac:spMkLst>
        </pc:spChg>
        <pc:spChg chg="mod">
          <ac:chgData name="Westhoff, Amir" userId="8d048e8d-3042-4117-b8b6-5f176bda5671" providerId="ADAL" clId="{5AF1FC53-AFEF-4854-BDA8-B51B0122CBF2}" dt="2024-09-17T20:44:05.516" v="2783"/>
          <ac:spMkLst>
            <pc:docMk/>
            <pc:sldMk cId="2764115968" sldId="2145706657"/>
            <ac:spMk id="98" creationId="{48A3C83A-7B8F-37D4-6771-6619E81E016A}"/>
          </ac:spMkLst>
        </pc:spChg>
        <pc:spChg chg="mod">
          <ac:chgData name="Westhoff, Amir" userId="8d048e8d-3042-4117-b8b6-5f176bda5671" providerId="ADAL" clId="{5AF1FC53-AFEF-4854-BDA8-B51B0122CBF2}" dt="2024-09-17T20:44:05.516" v="2783"/>
          <ac:spMkLst>
            <pc:docMk/>
            <pc:sldMk cId="2764115968" sldId="2145706657"/>
            <ac:spMk id="99" creationId="{F217DA3B-3FFA-F5FA-B14C-07F7B6DFE6D6}"/>
          </ac:spMkLst>
        </pc:spChg>
        <pc:spChg chg="mod">
          <ac:chgData name="Westhoff, Amir" userId="8d048e8d-3042-4117-b8b6-5f176bda5671" providerId="ADAL" clId="{5AF1FC53-AFEF-4854-BDA8-B51B0122CBF2}" dt="2024-09-17T20:44:05.516" v="2783"/>
          <ac:spMkLst>
            <pc:docMk/>
            <pc:sldMk cId="2764115968" sldId="2145706657"/>
            <ac:spMk id="100" creationId="{EA4690F5-96A7-821F-B997-53D1B1C45710}"/>
          </ac:spMkLst>
        </pc:spChg>
        <pc:spChg chg="mod">
          <ac:chgData name="Westhoff, Amir" userId="8d048e8d-3042-4117-b8b6-5f176bda5671" providerId="ADAL" clId="{5AF1FC53-AFEF-4854-BDA8-B51B0122CBF2}" dt="2024-09-17T20:44:05.516" v="2783"/>
          <ac:spMkLst>
            <pc:docMk/>
            <pc:sldMk cId="2764115968" sldId="2145706657"/>
            <ac:spMk id="101" creationId="{35FD272F-F219-0BDA-6193-2C1AFA108317}"/>
          </ac:spMkLst>
        </pc:spChg>
        <pc:spChg chg="mod">
          <ac:chgData name="Westhoff, Amir" userId="8d048e8d-3042-4117-b8b6-5f176bda5671" providerId="ADAL" clId="{5AF1FC53-AFEF-4854-BDA8-B51B0122CBF2}" dt="2024-09-17T20:44:05.516" v="2783"/>
          <ac:spMkLst>
            <pc:docMk/>
            <pc:sldMk cId="2764115968" sldId="2145706657"/>
            <ac:spMk id="102" creationId="{E71EB156-ED64-AAAB-E57E-CA66F10FA0AD}"/>
          </ac:spMkLst>
        </pc:spChg>
        <pc:spChg chg="mod">
          <ac:chgData name="Westhoff, Amir" userId="8d048e8d-3042-4117-b8b6-5f176bda5671" providerId="ADAL" clId="{5AF1FC53-AFEF-4854-BDA8-B51B0122CBF2}" dt="2024-09-17T20:44:05.516" v="2783"/>
          <ac:spMkLst>
            <pc:docMk/>
            <pc:sldMk cId="2764115968" sldId="2145706657"/>
            <ac:spMk id="103" creationId="{C1D0EE2C-3999-35AB-EC16-17C8F53ACB53}"/>
          </ac:spMkLst>
        </pc:spChg>
        <pc:spChg chg="mod">
          <ac:chgData name="Westhoff, Amir" userId="8d048e8d-3042-4117-b8b6-5f176bda5671" providerId="ADAL" clId="{5AF1FC53-AFEF-4854-BDA8-B51B0122CBF2}" dt="2024-09-17T20:44:05.516" v="2783"/>
          <ac:spMkLst>
            <pc:docMk/>
            <pc:sldMk cId="2764115968" sldId="2145706657"/>
            <ac:spMk id="104" creationId="{C171CA18-7AD0-9BE7-4109-1A102D80890E}"/>
          </ac:spMkLst>
        </pc:spChg>
        <pc:spChg chg="mod">
          <ac:chgData name="Westhoff, Amir" userId="8d048e8d-3042-4117-b8b6-5f176bda5671" providerId="ADAL" clId="{5AF1FC53-AFEF-4854-BDA8-B51B0122CBF2}" dt="2024-09-17T20:44:05.516" v="2783"/>
          <ac:spMkLst>
            <pc:docMk/>
            <pc:sldMk cId="2764115968" sldId="2145706657"/>
            <ac:spMk id="105" creationId="{42ACAA65-62DD-534F-4931-71A2C075EC29}"/>
          </ac:spMkLst>
        </pc:spChg>
        <pc:spChg chg="mod">
          <ac:chgData name="Westhoff, Amir" userId="8d048e8d-3042-4117-b8b6-5f176bda5671" providerId="ADAL" clId="{5AF1FC53-AFEF-4854-BDA8-B51B0122CBF2}" dt="2024-09-17T20:44:05.516" v="2783"/>
          <ac:spMkLst>
            <pc:docMk/>
            <pc:sldMk cId="2764115968" sldId="2145706657"/>
            <ac:spMk id="106" creationId="{11742D0D-C9F3-1877-F1DE-BBFB91B7CD4C}"/>
          </ac:spMkLst>
        </pc:spChg>
        <pc:spChg chg="mod">
          <ac:chgData name="Westhoff, Amir" userId="8d048e8d-3042-4117-b8b6-5f176bda5671" providerId="ADAL" clId="{5AF1FC53-AFEF-4854-BDA8-B51B0122CBF2}" dt="2024-09-17T20:44:05.516" v="2783"/>
          <ac:spMkLst>
            <pc:docMk/>
            <pc:sldMk cId="2764115968" sldId="2145706657"/>
            <ac:spMk id="107" creationId="{0CF85C66-E8CA-62E4-128F-49E243AECD36}"/>
          </ac:spMkLst>
        </pc:spChg>
        <pc:spChg chg="mod">
          <ac:chgData name="Westhoff, Amir" userId="8d048e8d-3042-4117-b8b6-5f176bda5671" providerId="ADAL" clId="{5AF1FC53-AFEF-4854-BDA8-B51B0122CBF2}" dt="2024-09-17T20:44:05.516" v="2783"/>
          <ac:spMkLst>
            <pc:docMk/>
            <pc:sldMk cId="2764115968" sldId="2145706657"/>
            <ac:spMk id="108" creationId="{F0153857-8C2F-1AFB-1CF1-445B4DC2CD0B}"/>
          </ac:spMkLst>
        </pc:spChg>
        <pc:spChg chg="mod">
          <ac:chgData name="Westhoff, Amir" userId="8d048e8d-3042-4117-b8b6-5f176bda5671" providerId="ADAL" clId="{5AF1FC53-AFEF-4854-BDA8-B51B0122CBF2}" dt="2024-09-17T20:44:05.516" v="2783"/>
          <ac:spMkLst>
            <pc:docMk/>
            <pc:sldMk cId="2764115968" sldId="2145706657"/>
            <ac:spMk id="109" creationId="{B91FBB3F-87E1-2F2E-689D-979FE50BAB7D}"/>
          </ac:spMkLst>
        </pc:spChg>
        <pc:spChg chg="mod">
          <ac:chgData name="Westhoff, Amir" userId="8d048e8d-3042-4117-b8b6-5f176bda5671" providerId="ADAL" clId="{5AF1FC53-AFEF-4854-BDA8-B51B0122CBF2}" dt="2024-09-17T20:44:05.516" v="2783"/>
          <ac:spMkLst>
            <pc:docMk/>
            <pc:sldMk cId="2764115968" sldId="2145706657"/>
            <ac:spMk id="110" creationId="{D60A0136-8377-B8BB-D24A-DC6511410FA3}"/>
          </ac:spMkLst>
        </pc:spChg>
        <pc:spChg chg="mod">
          <ac:chgData name="Westhoff, Amir" userId="8d048e8d-3042-4117-b8b6-5f176bda5671" providerId="ADAL" clId="{5AF1FC53-AFEF-4854-BDA8-B51B0122CBF2}" dt="2024-09-17T20:44:05.516" v="2783"/>
          <ac:spMkLst>
            <pc:docMk/>
            <pc:sldMk cId="2764115968" sldId="2145706657"/>
            <ac:spMk id="111" creationId="{C23DCA99-4AF6-4C96-F63D-176B1F20DB90}"/>
          </ac:spMkLst>
        </pc:spChg>
        <pc:spChg chg="mod">
          <ac:chgData name="Westhoff, Amir" userId="8d048e8d-3042-4117-b8b6-5f176bda5671" providerId="ADAL" clId="{5AF1FC53-AFEF-4854-BDA8-B51B0122CBF2}" dt="2024-09-17T20:44:05.516" v="2783"/>
          <ac:spMkLst>
            <pc:docMk/>
            <pc:sldMk cId="2764115968" sldId="2145706657"/>
            <ac:spMk id="112" creationId="{F6C06D29-EBB7-E6BF-A120-4BEB812E026B}"/>
          </ac:spMkLst>
        </pc:spChg>
        <pc:spChg chg="mod">
          <ac:chgData name="Westhoff, Amir" userId="8d048e8d-3042-4117-b8b6-5f176bda5671" providerId="ADAL" clId="{5AF1FC53-AFEF-4854-BDA8-B51B0122CBF2}" dt="2024-09-17T20:44:05.516" v="2783"/>
          <ac:spMkLst>
            <pc:docMk/>
            <pc:sldMk cId="2764115968" sldId="2145706657"/>
            <ac:spMk id="113" creationId="{4157925E-A4FC-34B7-C221-3669234CA7A8}"/>
          </ac:spMkLst>
        </pc:spChg>
        <pc:spChg chg="mod">
          <ac:chgData name="Westhoff, Amir" userId="8d048e8d-3042-4117-b8b6-5f176bda5671" providerId="ADAL" clId="{5AF1FC53-AFEF-4854-BDA8-B51B0122CBF2}" dt="2024-09-17T20:44:05.516" v="2783"/>
          <ac:spMkLst>
            <pc:docMk/>
            <pc:sldMk cId="2764115968" sldId="2145706657"/>
            <ac:spMk id="114" creationId="{CFFB746D-0DA4-EC2B-17EE-7387F60E2BE3}"/>
          </ac:spMkLst>
        </pc:spChg>
        <pc:spChg chg="mod">
          <ac:chgData name="Westhoff, Amir" userId="8d048e8d-3042-4117-b8b6-5f176bda5671" providerId="ADAL" clId="{5AF1FC53-AFEF-4854-BDA8-B51B0122CBF2}" dt="2024-09-17T20:44:05.516" v="2783"/>
          <ac:spMkLst>
            <pc:docMk/>
            <pc:sldMk cId="2764115968" sldId="2145706657"/>
            <ac:spMk id="115" creationId="{82D8ADD0-5037-2FB5-4666-A4CA13C197DA}"/>
          </ac:spMkLst>
        </pc:spChg>
        <pc:spChg chg="mod">
          <ac:chgData name="Westhoff, Amir" userId="8d048e8d-3042-4117-b8b6-5f176bda5671" providerId="ADAL" clId="{5AF1FC53-AFEF-4854-BDA8-B51B0122CBF2}" dt="2024-09-17T20:44:05.516" v="2783"/>
          <ac:spMkLst>
            <pc:docMk/>
            <pc:sldMk cId="2764115968" sldId="2145706657"/>
            <ac:spMk id="116" creationId="{4EEAC254-ACB2-BC63-097E-2728E98CA771}"/>
          </ac:spMkLst>
        </pc:spChg>
        <pc:spChg chg="mod">
          <ac:chgData name="Westhoff, Amir" userId="8d048e8d-3042-4117-b8b6-5f176bda5671" providerId="ADAL" clId="{5AF1FC53-AFEF-4854-BDA8-B51B0122CBF2}" dt="2024-09-17T20:44:05.516" v="2783"/>
          <ac:spMkLst>
            <pc:docMk/>
            <pc:sldMk cId="2764115968" sldId="2145706657"/>
            <ac:spMk id="117" creationId="{A3894DF9-511C-8151-DCB8-20B6A3D5BAF7}"/>
          </ac:spMkLst>
        </pc:spChg>
        <pc:spChg chg="mod">
          <ac:chgData name="Westhoff, Amir" userId="8d048e8d-3042-4117-b8b6-5f176bda5671" providerId="ADAL" clId="{5AF1FC53-AFEF-4854-BDA8-B51B0122CBF2}" dt="2024-09-17T20:44:05.516" v="2783"/>
          <ac:spMkLst>
            <pc:docMk/>
            <pc:sldMk cId="2764115968" sldId="2145706657"/>
            <ac:spMk id="118" creationId="{1F661D1A-6339-5248-53E1-E2CD190C8C4C}"/>
          </ac:spMkLst>
        </pc:spChg>
        <pc:spChg chg="mod">
          <ac:chgData name="Westhoff, Amir" userId="8d048e8d-3042-4117-b8b6-5f176bda5671" providerId="ADAL" clId="{5AF1FC53-AFEF-4854-BDA8-B51B0122CBF2}" dt="2024-09-17T20:44:05.516" v="2783"/>
          <ac:spMkLst>
            <pc:docMk/>
            <pc:sldMk cId="2764115968" sldId="2145706657"/>
            <ac:spMk id="119" creationId="{F84AE59C-68B6-3C2D-552B-A8D2003E1D42}"/>
          </ac:spMkLst>
        </pc:spChg>
        <pc:spChg chg="mod">
          <ac:chgData name="Westhoff, Amir" userId="8d048e8d-3042-4117-b8b6-5f176bda5671" providerId="ADAL" clId="{5AF1FC53-AFEF-4854-BDA8-B51B0122CBF2}" dt="2024-09-17T20:44:05.516" v="2783"/>
          <ac:spMkLst>
            <pc:docMk/>
            <pc:sldMk cId="2764115968" sldId="2145706657"/>
            <ac:spMk id="120" creationId="{406BD105-9CF5-6D5F-168F-61283191ACB0}"/>
          </ac:spMkLst>
        </pc:spChg>
        <pc:spChg chg="mod">
          <ac:chgData name="Westhoff, Amir" userId="8d048e8d-3042-4117-b8b6-5f176bda5671" providerId="ADAL" clId="{5AF1FC53-AFEF-4854-BDA8-B51B0122CBF2}" dt="2024-09-17T20:44:05.516" v="2783"/>
          <ac:spMkLst>
            <pc:docMk/>
            <pc:sldMk cId="2764115968" sldId="2145706657"/>
            <ac:spMk id="121" creationId="{ADEFE006-451A-B2B3-56C6-702CBB1A026A}"/>
          </ac:spMkLst>
        </pc:spChg>
        <pc:spChg chg="mod">
          <ac:chgData name="Westhoff, Amir" userId="8d048e8d-3042-4117-b8b6-5f176bda5671" providerId="ADAL" clId="{5AF1FC53-AFEF-4854-BDA8-B51B0122CBF2}" dt="2024-09-17T20:44:05.516" v="2783"/>
          <ac:spMkLst>
            <pc:docMk/>
            <pc:sldMk cId="2764115968" sldId="2145706657"/>
            <ac:spMk id="122" creationId="{D3DFDF8F-81CA-3349-3C61-A611AE0C2BE1}"/>
          </ac:spMkLst>
        </pc:spChg>
        <pc:spChg chg="mod">
          <ac:chgData name="Westhoff, Amir" userId="8d048e8d-3042-4117-b8b6-5f176bda5671" providerId="ADAL" clId="{5AF1FC53-AFEF-4854-BDA8-B51B0122CBF2}" dt="2024-09-17T20:44:05.516" v="2783"/>
          <ac:spMkLst>
            <pc:docMk/>
            <pc:sldMk cId="2764115968" sldId="2145706657"/>
            <ac:spMk id="123" creationId="{D6C1979E-3CA6-7FB0-72D1-95BF338F0D01}"/>
          </ac:spMkLst>
        </pc:spChg>
        <pc:spChg chg="mod">
          <ac:chgData name="Westhoff, Amir" userId="8d048e8d-3042-4117-b8b6-5f176bda5671" providerId="ADAL" clId="{5AF1FC53-AFEF-4854-BDA8-B51B0122CBF2}" dt="2024-09-17T20:44:05.516" v="2783"/>
          <ac:spMkLst>
            <pc:docMk/>
            <pc:sldMk cId="2764115968" sldId="2145706657"/>
            <ac:spMk id="124" creationId="{73E19A88-8522-E6B1-6D9B-33D5E3131A67}"/>
          </ac:spMkLst>
        </pc:spChg>
        <pc:spChg chg="mod">
          <ac:chgData name="Westhoff, Amir" userId="8d048e8d-3042-4117-b8b6-5f176bda5671" providerId="ADAL" clId="{5AF1FC53-AFEF-4854-BDA8-B51B0122CBF2}" dt="2024-09-17T20:44:05.516" v="2783"/>
          <ac:spMkLst>
            <pc:docMk/>
            <pc:sldMk cId="2764115968" sldId="2145706657"/>
            <ac:spMk id="125" creationId="{30086708-1E8B-45A8-F279-507D62BBEC83}"/>
          </ac:spMkLst>
        </pc:spChg>
        <pc:spChg chg="mod">
          <ac:chgData name="Westhoff, Amir" userId="8d048e8d-3042-4117-b8b6-5f176bda5671" providerId="ADAL" clId="{5AF1FC53-AFEF-4854-BDA8-B51B0122CBF2}" dt="2024-09-17T20:44:05.516" v="2783"/>
          <ac:spMkLst>
            <pc:docMk/>
            <pc:sldMk cId="2764115968" sldId="2145706657"/>
            <ac:spMk id="126" creationId="{AC74E305-31FF-27F8-0F7B-87FD99F4B63C}"/>
          </ac:spMkLst>
        </pc:spChg>
        <pc:spChg chg="mod">
          <ac:chgData name="Westhoff, Amir" userId="8d048e8d-3042-4117-b8b6-5f176bda5671" providerId="ADAL" clId="{5AF1FC53-AFEF-4854-BDA8-B51B0122CBF2}" dt="2024-09-17T20:44:05.516" v="2783"/>
          <ac:spMkLst>
            <pc:docMk/>
            <pc:sldMk cId="2764115968" sldId="2145706657"/>
            <ac:spMk id="127" creationId="{C6527F6F-5516-74B3-3989-FC4EF334F0E7}"/>
          </ac:spMkLst>
        </pc:spChg>
        <pc:spChg chg="mod">
          <ac:chgData name="Westhoff, Amir" userId="8d048e8d-3042-4117-b8b6-5f176bda5671" providerId="ADAL" clId="{5AF1FC53-AFEF-4854-BDA8-B51B0122CBF2}" dt="2024-09-17T20:44:05.516" v="2783"/>
          <ac:spMkLst>
            <pc:docMk/>
            <pc:sldMk cId="2764115968" sldId="2145706657"/>
            <ac:spMk id="128" creationId="{294DA8E3-5234-84BD-F1C3-C2CF994F9DD8}"/>
          </ac:spMkLst>
        </pc:spChg>
        <pc:spChg chg="mod">
          <ac:chgData name="Westhoff, Amir" userId="8d048e8d-3042-4117-b8b6-5f176bda5671" providerId="ADAL" clId="{5AF1FC53-AFEF-4854-BDA8-B51B0122CBF2}" dt="2024-09-17T20:44:05.516" v="2783"/>
          <ac:spMkLst>
            <pc:docMk/>
            <pc:sldMk cId="2764115968" sldId="2145706657"/>
            <ac:spMk id="129" creationId="{D829C099-462F-7445-0931-131E9D5A935A}"/>
          </ac:spMkLst>
        </pc:spChg>
        <pc:spChg chg="mod">
          <ac:chgData name="Westhoff, Amir" userId="8d048e8d-3042-4117-b8b6-5f176bda5671" providerId="ADAL" clId="{5AF1FC53-AFEF-4854-BDA8-B51B0122CBF2}" dt="2024-09-17T20:44:05.516" v="2783"/>
          <ac:spMkLst>
            <pc:docMk/>
            <pc:sldMk cId="2764115968" sldId="2145706657"/>
            <ac:spMk id="130" creationId="{4DD6C825-1AF7-417E-AFE8-FCDD7E887282}"/>
          </ac:spMkLst>
        </pc:spChg>
        <pc:spChg chg="mod">
          <ac:chgData name="Westhoff, Amir" userId="8d048e8d-3042-4117-b8b6-5f176bda5671" providerId="ADAL" clId="{5AF1FC53-AFEF-4854-BDA8-B51B0122CBF2}" dt="2024-09-17T20:44:05.516" v="2783"/>
          <ac:spMkLst>
            <pc:docMk/>
            <pc:sldMk cId="2764115968" sldId="2145706657"/>
            <ac:spMk id="131" creationId="{9FB480BD-30EE-EFAD-7A19-1C3477EF341D}"/>
          </ac:spMkLst>
        </pc:spChg>
        <pc:spChg chg="mod">
          <ac:chgData name="Westhoff, Amir" userId="8d048e8d-3042-4117-b8b6-5f176bda5671" providerId="ADAL" clId="{5AF1FC53-AFEF-4854-BDA8-B51B0122CBF2}" dt="2024-09-17T20:44:05.516" v="2783"/>
          <ac:spMkLst>
            <pc:docMk/>
            <pc:sldMk cId="2764115968" sldId="2145706657"/>
            <ac:spMk id="132" creationId="{F9634EDD-9816-2679-C73A-DE696D5ABF59}"/>
          </ac:spMkLst>
        </pc:spChg>
        <pc:spChg chg="mod">
          <ac:chgData name="Westhoff, Amir" userId="8d048e8d-3042-4117-b8b6-5f176bda5671" providerId="ADAL" clId="{5AF1FC53-AFEF-4854-BDA8-B51B0122CBF2}" dt="2024-09-17T20:44:05.516" v="2783"/>
          <ac:spMkLst>
            <pc:docMk/>
            <pc:sldMk cId="2764115968" sldId="2145706657"/>
            <ac:spMk id="133" creationId="{26E4D146-AF2E-94DF-A656-96A058EBA5C4}"/>
          </ac:spMkLst>
        </pc:spChg>
        <pc:spChg chg="mod">
          <ac:chgData name="Westhoff, Amir" userId="8d048e8d-3042-4117-b8b6-5f176bda5671" providerId="ADAL" clId="{5AF1FC53-AFEF-4854-BDA8-B51B0122CBF2}" dt="2024-09-17T20:44:05.516" v="2783"/>
          <ac:spMkLst>
            <pc:docMk/>
            <pc:sldMk cId="2764115968" sldId="2145706657"/>
            <ac:spMk id="134" creationId="{B3280514-D2BA-43E2-22B0-356DB6F76316}"/>
          </ac:spMkLst>
        </pc:spChg>
        <pc:spChg chg="mod">
          <ac:chgData name="Westhoff, Amir" userId="8d048e8d-3042-4117-b8b6-5f176bda5671" providerId="ADAL" clId="{5AF1FC53-AFEF-4854-BDA8-B51B0122CBF2}" dt="2024-09-17T20:44:05.516" v="2783"/>
          <ac:spMkLst>
            <pc:docMk/>
            <pc:sldMk cId="2764115968" sldId="2145706657"/>
            <ac:spMk id="135" creationId="{DDD0663C-F3EB-A603-87F9-EAA8D64B6365}"/>
          </ac:spMkLst>
        </pc:spChg>
        <pc:spChg chg="mod">
          <ac:chgData name="Westhoff, Amir" userId="8d048e8d-3042-4117-b8b6-5f176bda5671" providerId="ADAL" clId="{5AF1FC53-AFEF-4854-BDA8-B51B0122CBF2}" dt="2024-09-17T20:44:05.516" v="2783"/>
          <ac:spMkLst>
            <pc:docMk/>
            <pc:sldMk cId="2764115968" sldId="2145706657"/>
            <ac:spMk id="136" creationId="{F11C15CE-4624-F7A9-858F-73C4A77A75F4}"/>
          </ac:spMkLst>
        </pc:spChg>
        <pc:spChg chg="mod">
          <ac:chgData name="Westhoff, Amir" userId="8d048e8d-3042-4117-b8b6-5f176bda5671" providerId="ADAL" clId="{5AF1FC53-AFEF-4854-BDA8-B51B0122CBF2}" dt="2024-09-17T20:44:05.516" v="2783"/>
          <ac:spMkLst>
            <pc:docMk/>
            <pc:sldMk cId="2764115968" sldId="2145706657"/>
            <ac:spMk id="137" creationId="{59616372-99F0-71AA-0FE2-9D9010F5E5EC}"/>
          </ac:spMkLst>
        </pc:spChg>
        <pc:spChg chg="mod">
          <ac:chgData name="Westhoff, Amir" userId="8d048e8d-3042-4117-b8b6-5f176bda5671" providerId="ADAL" clId="{5AF1FC53-AFEF-4854-BDA8-B51B0122CBF2}" dt="2024-09-17T20:44:05.516" v="2783"/>
          <ac:spMkLst>
            <pc:docMk/>
            <pc:sldMk cId="2764115968" sldId="2145706657"/>
            <ac:spMk id="138" creationId="{E19F1FD2-A4CA-0C59-6C58-95A6208178BE}"/>
          </ac:spMkLst>
        </pc:spChg>
        <pc:spChg chg="mod">
          <ac:chgData name="Westhoff, Amir" userId="8d048e8d-3042-4117-b8b6-5f176bda5671" providerId="ADAL" clId="{5AF1FC53-AFEF-4854-BDA8-B51B0122CBF2}" dt="2024-09-17T20:44:05.516" v="2783"/>
          <ac:spMkLst>
            <pc:docMk/>
            <pc:sldMk cId="2764115968" sldId="2145706657"/>
            <ac:spMk id="139" creationId="{A13565C0-1F7B-D3A5-F012-C97978932B22}"/>
          </ac:spMkLst>
        </pc:spChg>
        <pc:spChg chg="mod">
          <ac:chgData name="Westhoff, Amir" userId="8d048e8d-3042-4117-b8b6-5f176bda5671" providerId="ADAL" clId="{5AF1FC53-AFEF-4854-BDA8-B51B0122CBF2}" dt="2024-09-17T20:44:05.516" v="2783"/>
          <ac:spMkLst>
            <pc:docMk/>
            <pc:sldMk cId="2764115968" sldId="2145706657"/>
            <ac:spMk id="140" creationId="{454C0D06-0403-C604-7EFE-B7E56E9C1FF2}"/>
          </ac:spMkLst>
        </pc:spChg>
        <pc:spChg chg="mod">
          <ac:chgData name="Westhoff, Amir" userId="8d048e8d-3042-4117-b8b6-5f176bda5671" providerId="ADAL" clId="{5AF1FC53-AFEF-4854-BDA8-B51B0122CBF2}" dt="2024-09-17T20:44:05.516" v="2783"/>
          <ac:spMkLst>
            <pc:docMk/>
            <pc:sldMk cId="2764115968" sldId="2145706657"/>
            <ac:spMk id="141" creationId="{2B75F0AD-522B-D58C-318A-A3A3A8507116}"/>
          </ac:spMkLst>
        </pc:spChg>
        <pc:spChg chg="mod">
          <ac:chgData name="Westhoff, Amir" userId="8d048e8d-3042-4117-b8b6-5f176bda5671" providerId="ADAL" clId="{5AF1FC53-AFEF-4854-BDA8-B51B0122CBF2}" dt="2024-09-17T20:44:05.516" v="2783"/>
          <ac:spMkLst>
            <pc:docMk/>
            <pc:sldMk cId="2764115968" sldId="2145706657"/>
            <ac:spMk id="142" creationId="{2EFCE7AE-DFB4-E131-C3BD-0FB414ED982C}"/>
          </ac:spMkLst>
        </pc:spChg>
        <pc:spChg chg="mod">
          <ac:chgData name="Westhoff, Amir" userId="8d048e8d-3042-4117-b8b6-5f176bda5671" providerId="ADAL" clId="{5AF1FC53-AFEF-4854-BDA8-B51B0122CBF2}" dt="2024-09-17T20:44:05.516" v="2783"/>
          <ac:spMkLst>
            <pc:docMk/>
            <pc:sldMk cId="2764115968" sldId="2145706657"/>
            <ac:spMk id="143" creationId="{909E7CC1-DF75-D51E-ADCD-A80868C9D292}"/>
          </ac:spMkLst>
        </pc:spChg>
        <pc:spChg chg="mod">
          <ac:chgData name="Westhoff, Amir" userId="8d048e8d-3042-4117-b8b6-5f176bda5671" providerId="ADAL" clId="{5AF1FC53-AFEF-4854-BDA8-B51B0122CBF2}" dt="2024-09-17T20:44:05.516" v="2783"/>
          <ac:spMkLst>
            <pc:docMk/>
            <pc:sldMk cId="2764115968" sldId="2145706657"/>
            <ac:spMk id="144" creationId="{9FF52A92-152C-0305-239D-5F1E82FDBB79}"/>
          </ac:spMkLst>
        </pc:spChg>
        <pc:spChg chg="mod">
          <ac:chgData name="Westhoff, Amir" userId="8d048e8d-3042-4117-b8b6-5f176bda5671" providerId="ADAL" clId="{5AF1FC53-AFEF-4854-BDA8-B51B0122CBF2}" dt="2024-09-17T20:44:05.516" v="2783"/>
          <ac:spMkLst>
            <pc:docMk/>
            <pc:sldMk cId="2764115968" sldId="2145706657"/>
            <ac:spMk id="145" creationId="{D20C15F0-79CE-7704-3748-B5D301C3CA8A}"/>
          </ac:spMkLst>
        </pc:spChg>
        <pc:spChg chg="mod">
          <ac:chgData name="Westhoff, Amir" userId="8d048e8d-3042-4117-b8b6-5f176bda5671" providerId="ADAL" clId="{5AF1FC53-AFEF-4854-BDA8-B51B0122CBF2}" dt="2024-09-17T20:44:05.516" v="2783"/>
          <ac:spMkLst>
            <pc:docMk/>
            <pc:sldMk cId="2764115968" sldId="2145706657"/>
            <ac:spMk id="146" creationId="{8810242F-BC4C-8D97-CA86-015F5DA804ED}"/>
          </ac:spMkLst>
        </pc:spChg>
        <pc:spChg chg="mod">
          <ac:chgData name="Westhoff, Amir" userId="8d048e8d-3042-4117-b8b6-5f176bda5671" providerId="ADAL" clId="{5AF1FC53-AFEF-4854-BDA8-B51B0122CBF2}" dt="2024-09-17T20:44:05.516" v="2783"/>
          <ac:spMkLst>
            <pc:docMk/>
            <pc:sldMk cId="2764115968" sldId="2145706657"/>
            <ac:spMk id="147" creationId="{52978D6A-1238-269C-4DD7-2829CA4FBDB8}"/>
          </ac:spMkLst>
        </pc:spChg>
        <pc:spChg chg="mod">
          <ac:chgData name="Westhoff, Amir" userId="8d048e8d-3042-4117-b8b6-5f176bda5671" providerId="ADAL" clId="{5AF1FC53-AFEF-4854-BDA8-B51B0122CBF2}" dt="2024-09-17T20:44:05.516" v="2783"/>
          <ac:spMkLst>
            <pc:docMk/>
            <pc:sldMk cId="2764115968" sldId="2145706657"/>
            <ac:spMk id="148" creationId="{4631C28A-E82C-F92A-12AD-53CA81DEE0D1}"/>
          </ac:spMkLst>
        </pc:spChg>
        <pc:spChg chg="mod">
          <ac:chgData name="Westhoff, Amir" userId="8d048e8d-3042-4117-b8b6-5f176bda5671" providerId="ADAL" clId="{5AF1FC53-AFEF-4854-BDA8-B51B0122CBF2}" dt="2024-09-17T20:44:05.516" v="2783"/>
          <ac:spMkLst>
            <pc:docMk/>
            <pc:sldMk cId="2764115968" sldId="2145706657"/>
            <ac:spMk id="149" creationId="{81228552-8C78-75D8-953C-C290BD2F79E4}"/>
          </ac:spMkLst>
        </pc:spChg>
        <pc:spChg chg="mod">
          <ac:chgData name="Westhoff, Amir" userId="8d048e8d-3042-4117-b8b6-5f176bda5671" providerId="ADAL" clId="{5AF1FC53-AFEF-4854-BDA8-B51B0122CBF2}" dt="2024-09-17T20:44:05.516" v="2783"/>
          <ac:spMkLst>
            <pc:docMk/>
            <pc:sldMk cId="2764115968" sldId="2145706657"/>
            <ac:spMk id="150" creationId="{118821B9-10B8-FE0E-0A1F-75804A66E418}"/>
          </ac:spMkLst>
        </pc:spChg>
        <pc:spChg chg="mod">
          <ac:chgData name="Westhoff, Amir" userId="8d048e8d-3042-4117-b8b6-5f176bda5671" providerId="ADAL" clId="{5AF1FC53-AFEF-4854-BDA8-B51B0122CBF2}" dt="2024-09-17T20:44:05.516" v="2783"/>
          <ac:spMkLst>
            <pc:docMk/>
            <pc:sldMk cId="2764115968" sldId="2145706657"/>
            <ac:spMk id="151" creationId="{8E8B25BE-993B-F33D-4C1B-FA7C3C9EDC37}"/>
          </ac:spMkLst>
        </pc:spChg>
        <pc:spChg chg="mod">
          <ac:chgData name="Westhoff, Amir" userId="8d048e8d-3042-4117-b8b6-5f176bda5671" providerId="ADAL" clId="{5AF1FC53-AFEF-4854-BDA8-B51B0122CBF2}" dt="2024-09-17T20:44:05.516" v="2783"/>
          <ac:spMkLst>
            <pc:docMk/>
            <pc:sldMk cId="2764115968" sldId="2145706657"/>
            <ac:spMk id="152" creationId="{C8B8AA43-6EAF-8116-F0CE-D69ABDA825E9}"/>
          </ac:spMkLst>
        </pc:spChg>
        <pc:spChg chg="mod">
          <ac:chgData name="Westhoff, Amir" userId="8d048e8d-3042-4117-b8b6-5f176bda5671" providerId="ADAL" clId="{5AF1FC53-AFEF-4854-BDA8-B51B0122CBF2}" dt="2024-09-17T20:44:05.516" v="2783"/>
          <ac:spMkLst>
            <pc:docMk/>
            <pc:sldMk cId="2764115968" sldId="2145706657"/>
            <ac:spMk id="153" creationId="{0E748E3A-1F77-C75C-5EFB-78C22E3C03EE}"/>
          </ac:spMkLst>
        </pc:spChg>
        <pc:spChg chg="mod">
          <ac:chgData name="Westhoff, Amir" userId="8d048e8d-3042-4117-b8b6-5f176bda5671" providerId="ADAL" clId="{5AF1FC53-AFEF-4854-BDA8-B51B0122CBF2}" dt="2024-09-17T20:44:05.516" v="2783"/>
          <ac:spMkLst>
            <pc:docMk/>
            <pc:sldMk cId="2764115968" sldId="2145706657"/>
            <ac:spMk id="154" creationId="{CA5AB584-72BA-E1C4-53B3-2D4D89C69103}"/>
          </ac:spMkLst>
        </pc:spChg>
        <pc:spChg chg="mod">
          <ac:chgData name="Westhoff, Amir" userId="8d048e8d-3042-4117-b8b6-5f176bda5671" providerId="ADAL" clId="{5AF1FC53-AFEF-4854-BDA8-B51B0122CBF2}" dt="2024-09-17T20:44:05.516" v="2783"/>
          <ac:spMkLst>
            <pc:docMk/>
            <pc:sldMk cId="2764115968" sldId="2145706657"/>
            <ac:spMk id="155" creationId="{DD1828A8-6E86-2981-2631-D73B1B52B253}"/>
          </ac:spMkLst>
        </pc:spChg>
        <pc:spChg chg="mod">
          <ac:chgData name="Westhoff, Amir" userId="8d048e8d-3042-4117-b8b6-5f176bda5671" providerId="ADAL" clId="{5AF1FC53-AFEF-4854-BDA8-B51B0122CBF2}" dt="2024-09-17T20:44:05.516" v="2783"/>
          <ac:spMkLst>
            <pc:docMk/>
            <pc:sldMk cId="2764115968" sldId="2145706657"/>
            <ac:spMk id="156" creationId="{43974496-26E8-AF8F-368C-4BF9A58E9B64}"/>
          </ac:spMkLst>
        </pc:spChg>
        <pc:spChg chg="mod">
          <ac:chgData name="Westhoff, Amir" userId="8d048e8d-3042-4117-b8b6-5f176bda5671" providerId="ADAL" clId="{5AF1FC53-AFEF-4854-BDA8-B51B0122CBF2}" dt="2024-09-17T20:44:05.516" v="2783"/>
          <ac:spMkLst>
            <pc:docMk/>
            <pc:sldMk cId="2764115968" sldId="2145706657"/>
            <ac:spMk id="157" creationId="{844E5BB2-E763-658B-E55C-0F8BF7126048}"/>
          </ac:spMkLst>
        </pc:spChg>
        <pc:spChg chg="mod">
          <ac:chgData name="Westhoff, Amir" userId="8d048e8d-3042-4117-b8b6-5f176bda5671" providerId="ADAL" clId="{5AF1FC53-AFEF-4854-BDA8-B51B0122CBF2}" dt="2024-09-17T20:44:05.516" v="2783"/>
          <ac:spMkLst>
            <pc:docMk/>
            <pc:sldMk cId="2764115968" sldId="2145706657"/>
            <ac:spMk id="158" creationId="{CB029369-A6EA-FD46-DE30-F47463F1CC4B}"/>
          </ac:spMkLst>
        </pc:spChg>
        <pc:spChg chg="mod">
          <ac:chgData name="Westhoff, Amir" userId="8d048e8d-3042-4117-b8b6-5f176bda5671" providerId="ADAL" clId="{5AF1FC53-AFEF-4854-BDA8-B51B0122CBF2}" dt="2024-09-17T20:44:05.516" v="2783"/>
          <ac:spMkLst>
            <pc:docMk/>
            <pc:sldMk cId="2764115968" sldId="2145706657"/>
            <ac:spMk id="159" creationId="{31112CC5-9339-9DC6-AF38-58FD4512EFEB}"/>
          </ac:spMkLst>
        </pc:spChg>
        <pc:spChg chg="mod">
          <ac:chgData name="Westhoff, Amir" userId="8d048e8d-3042-4117-b8b6-5f176bda5671" providerId="ADAL" clId="{5AF1FC53-AFEF-4854-BDA8-B51B0122CBF2}" dt="2024-09-17T20:44:05.516" v="2783"/>
          <ac:spMkLst>
            <pc:docMk/>
            <pc:sldMk cId="2764115968" sldId="2145706657"/>
            <ac:spMk id="160" creationId="{9ACD5745-6C8C-43B1-A870-DA0C99BB8F69}"/>
          </ac:spMkLst>
        </pc:spChg>
        <pc:spChg chg="mod">
          <ac:chgData name="Westhoff, Amir" userId="8d048e8d-3042-4117-b8b6-5f176bda5671" providerId="ADAL" clId="{5AF1FC53-AFEF-4854-BDA8-B51B0122CBF2}" dt="2024-09-17T20:44:05.516" v="2783"/>
          <ac:spMkLst>
            <pc:docMk/>
            <pc:sldMk cId="2764115968" sldId="2145706657"/>
            <ac:spMk id="161" creationId="{0209BED4-CB03-98D5-8041-7057E6A4AD98}"/>
          </ac:spMkLst>
        </pc:spChg>
        <pc:spChg chg="mod">
          <ac:chgData name="Westhoff, Amir" userId="8d048e8d-3042-4117-b8b6-5f176bda5671" providerId="ADAL" clId="{5AF1FC53-AFEF-4854-BDA8-B51B0122CBF2}" dt="2024-09-17T20:44:05.516" v="2783"/>
          <ac:spMkLst>
            <pc:docMk/>
            <pc:sldMk cId="2764115968" sldId="2145706657"/>
            <ac:spMk id="162" creationId="{0B6F7CAB-6A7B-02DC-CE0D-11E576B0E7DC}"/>
          </ac:spMkLst>
        </pc:spChg>
        <pc:spChg chg="mod">
          <ac:chgData name="Westhoff, Amir" userId="8d048e8d-3042-4117-b8b6-5f176bda5671" providerId="ADAL" clId="{5AF1FC53-AFEF-4854-BDA8-B51B0122CBF2}" dt="2024-09-17T20:44:05.516" v="2783"/>
          <ac:spMkLst>
            <pc:docMk/>
            <pc:sldMk cId="2764115968" sldId="2145706657"/>
            <ac:spMk id="163" creationId="{D7047DD5-0343-AC73-A60D-4A5C5CA2A663}"/>
          </ac:spMkLst>
        </pc:spChg>
        <pc:spChg chg="mod">
          <ac:chgData name="Westhoff, Amir" userId="8d048e8d-3042-4117-b8b6-5f176bda5671" providerId="ADAL" clId="{5AF1FC53-AFEF-4854-BDA8-B51B0122CBF2}" dt="2024-09-17T20:44:05.516" v="2783"/>
          <ac:spMkLst>
            <pc:docMk/>
            <pc:sldMk cId="2764115968" sldId="2145706657"/>
            <ac:spMk id="164" creationId="{491AFBF3-9C20-1ED0-78D0-20D3DEAFD2F2}"/>
          </ac:spMkLst>
        </pc:spChg>
        <pc:spChg chg="mod">
          <ac:chgData name="Westhoff, Amir" userId="8d048e8d-3042-4117-b8b6-5f176bda5671" providerId="ADAL" clId="{5AF1FC53-AFEF-4854-BDA8-B51B0122CBF2}" dt="2024-09-17T20:44:05.516" v="2783"/>
          <ac:spMkLst>
            <pc:docMk/>
            <pc:sldMk cId="2764115968" sldId="2145706657"/>
            <ac:spMk id="165" creationId="{A298C5DA-6610-B4ED-ACBF-0F0CC4D094B8}"/>
          </ac:spMkLst>
        </pc:spChg>
        <pc:spChg chg="mod">
          <ac:chgData name="Westhoff, Amir" userId="8d048e8d-3042-4117-b8b6-5f176bda5671" providerId="ADAL" clId="{5AF1FC53-AFEF-4854-BDA8-B51B0122CBF2}" dt="2024-09-17T20:44:05.516" v="2783"/>
          <ac:spMkLst>
            <pc:docMk/>
            <pc:sldMk cId="2764115968" sldId="2145706657"/>
            <ac:spMk id="166" creationId="{EA652E2B-D8FD-C1E7-FBC5-76D410D7F809}"/>
          </ac:spMkLst>
        </pc:spChg>
        <pc:spChg chg="mod">
          <ac:chgData name="Westhoff, Amir" userId="8d048e8d-3042-4117-b8b6-5f176bda5671" providerId="ADAL" clId="{5AF1FC53-AFEF-4854-BDA8-B51B0122CBF2}" dt="2024-09-17T20:44:05.516" v="2783"/>
          <ac:spMkLst>
            <pc:docMk/>
            <pc:sldMk cId="2764115968" sldId="2145706657"/>
            <ac:spMk id="167" creationId="{9951721E-73FB-E5AB-CF32-80C063CAC7F7}"/>
          </ac:spMkLst>
        </pc:spChg>
        <pc:spChg chg="mod">
          <ac:chgData name="Westhoff, Amir" userId="8d048e8d-3042-4117-b8b6-5f176bda5671" providerId="ADAL" clId="{5AF1FC53-AFEF-4854-BDA8-B51B0122CBF2}" dt="2024-09-17T20:44:05.516" v="2783"/>
          <ac:spMkLst>
            <pc:docMk/>
            <pc:sldMk cId="2764115968" sldId="2145706657"/>
            <ac:spMk id="168" creationId="{BE30E825-A5B9-517B-5A5A-EDBB02CD5EAC}"/>
          </ac:spMkLst>
        </pc:spChg>
        <pc:spChg chg="mod">
          <ac:chgData name="Westhoff, Amir" userId="8d048e8d-3042-4117-b8b6-5f176bda5671" providerId="ADAL" clId="{5AF1FC53-AFEF-4854-BDA8-B51B0122CBF2}" dt="2024-09-17T20:44:05.516" v="2783"/>
          <ac:spMkLst>
            <pc:docMk/>
            <pc:sldMk cId="2764115968" sldId="2145706657"/>
            <ac:spMk id="169" creationId="{0BF2BE00-297E-EE17-DE53-F7E9C7F21BD7}"/>
          </ac:spMkLst>
        </pc:spChg>
        <pc:spChg chg="mod">
          <ac:chgData name="Westhoff, Amir" userId="8d048e8d-3042-4117-b8b6-5f176bda5671" providerId="ADAL" clId="{5AF1FC53-AFEF-4854-BDA8-B51B0122CBF2}" dt="2024-09-17T20:44:05.516" v="2783"/>
          <ac:spMkLst>
            <pc:docMk/>
            <pc:sldMk cId="2764115968" sldId="2145706657"/>
            <ac:spMk id="170" creationId="{7DF7341C-B669-04FC-5F3D-25F1EBBB359B}"/>
          </ac:spMkLst>
        </pc:spChg>
        <pc:spChg chg="mod">
          <ac:chgData name="Westhoff, Amir" userId="8d048e8d-3042-4117-b8b6-5f176bda5671" providerId="ADAL" clId="{5AF1FC53-AFEF-4854-BDA8-B51B0122CBF2}" dt="2024-09-17T20:44:05.516" v="2783"/>
          <ac:spMkLst>
            <pc:docMk/>
            <pc:sldMk cId="2764115968" sldId="2145706657"/>
            <ac:spMk id="171" creationId="{C17B78DC-F441-AB6D-C2E7-A462D914D2D8}"/>
          </ac:spMkLst>
        </pc:spChg>
        <pc:spChg chg="mod">
          <ac:chgData name="Westhoff, Amir" userId="8d048e8d-3042-4117-b8b6-5f176bda5671" providerId="ADAL" clId="{5AF1FC53-AFEF-4854-BDA8-B51B0122CBF2}" dt="2024-09-17T20:44:05.516" v="2783"/>
          <ac:spMkLst>
            <pc:docMk/>
            <pc:sldMk cId="2764115968" sldId="2145706657"/>
            <ac:spMk id="172" creationId="{3CAE9D0D-EF11-1B27-1E18-0EE03B5C4D0C}"/>
          </ac:spMkLst>
        </pc:spChg>
        <pc:spChg chg="mod">
          <ac:chgData name="Westhoff, Amir" userId="8d048e8d-3042-4117-b8b6-5f176bda5671" providerId="ADAL" clId="{5AF1FC53-AFEF-4854-BDA8-B51B0122CBF2}" dt="2024-09-17T20:44:05.516" v="2783"/>
          <ac:spMkLst>
            <pc:docMk/>
            <pc:sldMk cId="2764115968" sldId="2145706657"/>
            <ac:spMk id="173" creationId="{C85BA76C-01CC-7AE0-325D-CC560B3F8CAA}"/>
          </ac:spMkLst>
        </pc:spChg>
        <pc:spChg chg="mod">
          <ac:chgData name="Westhoff, Amir" userId="8d048e8d-3042-4117-b8b6-5f176bda5671" providerId="ADAL" clId="{5AF1FC53-AFEF-4854-BDA8-B51B0122CBF2}" dt="2024-09-17T20:44:05.516" v="2783"/>
          <ac:spMkLst>
            <pc:docMk/>
            <pc:sldMk cId="2764115968" sldId="2145706657"/>
            <ac:spMk id="174" creationId="{59438CA5-4026-2581-AAE6-373AF7FC97F7}"/>
          </ac:spMkLst>
        </pc:spChg>
        <pc:spChg chg="mod">
          <ac:chgData name="Westhoff, Amir" userId="8d048e8d-3042-4117-b8b6-5f176bda5671" providerId="ADAL" clId="{5AF1FC53-AFEF-4854-BDA8-B51B0122CBF2}" dt="2024-09-17T20:44:05.516" v="2783"/>
          <ac:spMkLst>
            <pc:docMk/>
            <pc:sldMk cId="2764115968" sldId="2145706657"/>
            <ac:spMk id="175" creationId="{17D4FC28-485D-F32E-C040-7BDB64DE9401}"/>
          </ac:spMkLst>
        </pc:spChg>
        <pc:spChg chg="mod">
          <ac:chgData name="Westhoff, Amir" userId="8d048e8d-3042-4117-b8b6-5f176bda5671" providerId="ADAL" clId="{5AF1FC53-AFEF-4854-BDA8-B51B0122CBF2}" dt="2024-09-17T20:44:05.516" v="2783"/>
          <ac:spMkLst>
            <pc:docMk/>
            <pc:sldMk cId="2764115968" sldId="2145706657"/>
            <ac:spMk id="176" creationId="{579D9B43-BB65-E39F-D2D0-8BFC90FC9811}"/>
          </ac:spMkLst>
        </pc:spChg>
        <pc:spChg chg="mod">
          <ac:chgData name="Westhoff, Amir" userId="8d048e8d-3042-4117-b8b6-5f176bda5671" providerId="ADAL" clId="{5AF1FC53-AFEF-4854-BDA8-B51B0122CBF2}" dt="2024-09-17T20:44:05.516" v="2783"/>
          <ac:spMkLst>
            <pc:docMk/>
            <pc:sldMk cId="2764115968" sldId="2145706657"/>
            <ac:spMk id="177" creationId="{00061E27-0EDA-1800-2593-98DAF1688A96}"/>
          </ac:spMkLst>
        </pc:spChg>
        <pc:spChg chg="mod">
          <ac:chgData name="Westhoff, Amir" userId="8d048e8d-3042-4117-b8b6-5f176bda5671" providerId="ADAL" clId="{5AF1FC53-AFEF-4854-BDA8-B51B0122CBF2}" dt="2024-09-17T20:44:05.516" v="2783"/>
          <ac:spMkLst>
            <pc:docMk/>
            <pc:sldMk cId="2764115968" sldId="2145706657"/>
            <ac:spMk id="178" creationId="{C6B346C1-29E3-7220-547C-13A8A7B8AAAA}"/>
          </ac:spMkLst>
        </pc:spChg>
        <pc:spChg chg="mod">
          <ac:chgData name="Westhoff, Amir" userId="8d048e8d-3042-4117-b8b6-5f176bda5671" providerId="ADAL" clId="{5AF1FC53-AFEF-4854-BDA8-B51B0122CBF2}" dt="2024-09-17T20:44:05.516" v="2783"/>
          <ac:spMkLst>
            <pc:docMk/>
            <pc:sldMk cId="2764115968" sldId="2145706657"/>
            <ac:spMk id="179" creationId="{E74E1D8F-BA0E-86D3-08CE-0F51A3412952}"/>
          </ac:spMkLst>
        </pc:spChg>
        <pc:spChg chg="mod">
          <ac:chgData name="Westhoff, Amir" userId="8d048e8d-3042-4117-b8b6-5f176bda5671" providerId="ADAL" clId="{5AF1FC53-AFEF-4854-BDA8-B51B0122CBF2}" dt="2024-09-17T20:44:05.516" v="2783"/>
          <ac:spMkLst>
            <pc:docMk/>
            <pc:sldMk cId="2764115968" sldId="2145706657"/>
            <ac:spMk id="180" creationId="{A2FCB2BD-6D41-3068-64EB-4ACBB5CE02B9}"/>
          </ac:spMkLst>
        </pc:spChg>
        <pc:spChg chg="mod">
          <ac:chgData name="Westhoff, Amir" userId="8d048e8d-3042-4117-b8b6-5f176bda5671" providerId="ADAL" clId="{5AF1FC53-AFEF-4854-BDA8-B51B0122CBF2}" dt="2024-09-17T20:44:05.516" v="2783"/>
          <ac:spMkLst>
            <pc:docMk/>
            <pc:sldMk cId="2764115968" sldId="2145706657"/>
            <ac:spMk id="181" creationId="{10075D76-242C-6273-2D93-D5BC5B2E4C0B}"/>
          </ac:spMkLst>
        </pc:spChg>
        <pc:spChg chg="mod">
          <ac:chgData name="Westhoff, Amir" userId="8d048e8d-3042-4117-b8b6-5f176bda5671" providerId="ADAL" clId="{5AF1FC53-AFEF-4854-BDA8-B51B0122CBF2}" dt="2024-09-17T20:44:05.516" v="2783"/>
          <ac:spMkLst>
            <pc:docMk/>
            <pc:sldMk cId="2764115968" sldId="2145706657"/>
            <ac:spMk id="182" creationId="{F35397B2-3FA7-CDBE-EBF6-FD7AB766F250}"/>
          </ac:spMkLst>
        </pc:spChg>
        <pc:spChg chg="mod">
          <ac:chgData name="Westhoff, Amir" userId="8d048e8d-3042-4117-b8b6-5f176bda5671" providerId="ADAL" clId="{5AF1FC53-AFEF-4854-BDA8-B51B0122CBF2}" dt="2024-09-17T20:44:05.516" v="2783"/>
          <ac:spMkLst>
            <pc:docMk/>
            <pc:sldMk cId="2764115968" sldId="2145706657"/>
            <ac:spMk id="183" creationId="{503FE04C-8B2B-70EC-D75C-99A659C2D7A3}"/>
          </ac:spMkLst>
        </pc:spChg>
        <pc:spChg chg="mod">
          <ac:chgData name="Westhoff, Amir" userId="8d048e8d-3042-4117-b8b6-5f176bda5671" providerId="ADAL" clId="{5AF1FC53-AFEF-4854-BDA8-B51B0122CBF2}" dt="2024-09-17T20:44:05.516" v="2783"/>
          <ac:spMkLst>
            <pc:docMk/>
            <pc:sldMk cId="2764115968" sldId="2145706657"/>
            <ac:spMk id="184" creationId="{ECE7098A-F44B-17D2-C9CC-481DF5CA30E2}"/>
          </ac:spMkLst>
        </pc:spChg>
        <pc:spChg chg="mod">
          <ac:chgData name="Westhoff, Amir" userId="8d048e8d-3042-4117-b8b6-5f176bda5671" providerId="ADAL" clId="{5AF1FC53-AFEF-4854-BDA8-B51B0122CBF2}" dt="2024-09-17T20:44:05.516" v="2783"/>
          <ac:spMkLst>
            <pc:docMk/>
            <pc:sldMk cId="2764115968" sldId="2145706657"/>
            <ac:spMk id="185" creationId="{962AF21F-1F58-C7C6-F51A-814128BF6996}"/>
          </ac:spMkLst>
        </pc:spChg>
        <pc:spChg chg="mod">
          <ac:chgData name="Westhoff, Amir" userId="8d048e8d-3042-4117-b8b6-5f176bda5671" providerId="ADAL" clId="{5AF1FC53-AFEF-4854-BDA8-B51B0122CBF2}" dt="2024-09-17T20:44:05.516" v="2783"/>
          <ac:spMkLst>
            <pc:docMk/>
            <pc:sldMk cId="2764115968" sldId="2145706657"/>
            <ac:spMk id="186" creationId="{7A86142B-4F0E-8019-96EF-1DA01B371F8B}"/>
          </ac:spMkLst>
        </pc:spChg>
        <pc:spChg chg="mod">
          <ac:chgData name="Westhoff, Amir" userId="8d048e8d-3042-4117-b8b6-5f176bda5671" providerId="ADAL" clId="{5AF1FC53-AFEF-4854-BDA8-B51B0122CBF2}" dt="2024-09-17T20:44:05.516" v="2783"/>
          <ac:spMkLst>
            <pc:docMk/>
            <pc:sldMk cId="2764115968" sldId="2145706657"/>
            <ac:spMk id="187" creationId="{CBFB100A-1EB8-818D-E298-714A2EA8FE10}"/>
          </ac:spMkLst>
        </pc:spChg>
        <pc:spChg chg="mod">
          <ac:chgData name="Westhoff, Amir" userId="8d048e8d-3042-4117-b8b6-5f176bda5671" providerId="ADAL" clId="{5AF1FC53-AFEF-4854-BDA8-B51B0122CBF2}" dt="2024-09-17T20:44:05.516" v="2783"/>
          <ac:spMkLst>
            <pc:docMk/>
            <pc:sldMk cId="2764115968" sldId="2145706657"/>
            <ac:spMk id="188" creationId="{834CA9D8-9C3E-793B-92EC-78E4249AB4FA}"/>
          </ac:spMkLst>
        </pc:spChg>
        <pc:spChg chg="mod">
          <ac:chgData name="Westhoff, Amir" userId="8d048e8d-3042-4117-b8b6-5f176bda5671" providerId="ADAL" clId="{5AF1FC53-AFEF-4854-BDA8-B51B0122CBF2}" dt="2024-09-17T20:44:05.516" v="2783"/>
          <ac:spMkLst>
            <pc:docMk/>
            <pc:sldMk cId="2764115968" sldId="2145706657"/>
            <ac:spMk id="189" creationId="{1FB7F958-4E25-26D0-A487-00655AADA4A9}"/>
          </ac:spMkLst>
        </pc:spChg>
        <pc:spChg chg="mod">
          <ac:chgData name="Westhoff, Amir" userId="8d048e8d-3042-4117-b8b6-5f176bda5671" providerId="ADAL" clId="{5AF1FC53-AFEF-4854-BDA8-B51B0122CBF2}" dt="2024-09-17T20:44:05.516" v="2783"/>
          <ac:spMkLst>
            <pc:docMk/>
            <pc:sldMk cId="2764115968" sldId="2145706657"/>
            <ac:spMk id="190" creationId="{98C56145-E349-CFAD-7DFE-2A5856E3C91F}"/>
          </ac:spMkLst>
        </pc:spChg>
        <pc:spChg chg="mod">
          <ac:chgData name="Westhoff, Amir" userId="8d048e8d-3042-4117-b8b6-5f176bda5671" providerId="ADAL" clId="{5AF1FC53-AFEF-4854-BDA8-B51B0122CBF2}" dt="2024-09-17T20:44:05.516" v="2783"/>
          <ac:spMkLst>
            <pc:docMk/>
            <pc:sldMk cId="2764115968" sldId="2145706657"/>
            <ac:spMk id="191" creationId="{6FD7F0A9-EE6B-788B-41C5-0C9B578EB054}"/>
          </ac:spMkLst>
        </pc:spChg>
        <pc:spChg chg="mod">
          <ac:chgData name="Westhoff, Amir" userId="8d048e8d-3042-4117-b8b6-5f176bda5671" providerId="ADAL" clId="{5AF1FC53-AFEF-4854-BDA8-B51B0122CBF2}" dt="2024-09-17T20:44:05.516" v="2783"/>
          <ac:spMkLst>
            <pc:docMk/>
            <pc:sldMk cId="2764115968" sldId="2145706657"/>
            <ac:spMk id="192" creationId="{0F8FAC89-4FCF-A315-FFFD-F9D9B9136C42}"/>
          </ac:spMkLst>
        </pc:spChg>
        <pc:spChg chg="mod">
          <ac:chgData name="Westhoff, Amir" userId="8d048e8d-3042-4117-b8b6-5f176bda5671" providerId="ADAL" clId="{5AF1FC53-AFEF-4854-BDA8-B51B0122CBF2}" dt="2024-09-17T20:44:05.516" v="2783"/>
          <ac:spMkLst>
            <pc:docMk/>
            <pc:sldMk cId="2764115968" sldId="2145706657"/>
            <ac:spMk id="193" creationId="{FE185A0D-A7CD-19AC-A05A-09E6BD5EEC96}"/>
          </ac:spMkLst>
        </pc:spChg>
        <pc:grpChg chg="add mod">
          <ac:chgData name="Westhoff, Amir" userId="8d048e8d-3042-4117-b8b6-5f176bda5671" providerId="ADAL" clId="{5AF1FC53-AFEF-4854-BDA8-B51B0122CBF2}" dt="2024-09-17T20:44:09.085" v="2784" actId="207"/>
          <ac:grpSpMkLst>
            <pc:docMk/>
            <pc:sldMk cId="2764115968" sldId="2145706657"/>
            <ac:grpSpMk id="9" creationId="{9E6BD58C-A704-682C-4F5B-F530AF2A0F16}"/>
          </ac:grpSpMkLst>
        </pc:grpChg>
        <pc:grpChg chg="mod">
          <ac:chgData name="Westhoff, Amir" userId="8d048e8d-3042-4117-b8b6-5f176bda5671" providerId="ADAL" clId="{5AF1FC53-AFEF-4854-BDA8-B51B0122CBF2}" dt="2024-09-17T20:44:05.516" v="2783"/>
          <ac:grpSpMkLst>
            <pc:docMk/>
            <pc:sldMk cId="2764115968" sldId="2145706657"/>
            <ac:grpSpMk id="11" creationId="{47A0FCD4-F22D-BFBE-7D40-AB0C7CAFAF4B}"/>
          </ac:grpSpMkLst>
        </pc:grpChg>
        <pc:grpChg chg="add mod">
          <ac:chgData name="Westhoff, Amir" userId="8d048e8d-3042-4117-b8b6-5f176bda5671" providerId="ADAL" clId="{5AF1FC53-AFEF-4854-BDA8-B51B0122CBF2}" dt="2024-09-17T20:44:09.085" v="2784" actId="207"/>
          <ac:grpSpMkLst>
            <pc:docMk/>
            <pc:sldMk cId="2764115968" sldId="2145706657"/>
            <ac:grpSpMk id="17" creationId="{BCB7E8BB-ED2C-3C72-EA89-32F466C91155}"/>
          </ac:grpSpMkLst>
        </pc:grpChg>
        <pc:grpChg chg="mod">
          <ac:chgData name="Westhoff, Amir" userId="8d048e8d-3042-4117-b8b6-5f176bda5671" providerId="ADAL" clId="{5AF1FC53-AFEF-4854-BDA8-B51B0122CBF2}" dt="2024-09-17T20:44:05.516" v="2783"/>
          <ac:grpSpMkLst>
            <pc:docMk/>
            <pc:sldMk cId="2764115968" sldId="2145706657"/>
            <ac:grpSpMk id="18" creationId="{DFD90E1A-F00B-1973-480D-BA94F97D99C3}"/>
          </ac:grpSpMkLst>
        </pc:grpChg>
        <pc:grpChg chg="mod">
          <ac:chgData name="Westhoff, Amir" userId="8d048e8d-3042-4117-b8b6-5f176bda5671" providerId="ADAL" clId="{5AF1FC53-AFEF-4854-BDA8-B51B0122CBF2}" dt="2024-09-17T20:44:05.516" v="2783"/>
          <ac:grpSpMkLst>
            <pc:docMk/>
            <pc:sldMk cId="2764115968" sldId="2145706657"/>
            <ac:grpSpMk id="19" creationId="{1BD467F3-91BD-A026-812F-22BC795AF662}"/>
          </ac:grpSpMkLst>
        </pc:grpChg>
        <pc:grpChg chg="mod">
          <ac:chgData name="Westhoff, Amir" userId="8d048e8d-3042-4117-b8b6-5f176bda5671" providerId="ADAL" clId="{5AF1FC53-AFEF-4854-BDA8-B51B0122CBF2}" dt="2024-09-17T20:44:05.516" v="2783"/>
          <ac:grpSpMkLst>
            <pc:docMk/>
            <pc:sldMk cId="2764115968" sldId="2145706657"/>
            <ac:grpSpMk id="20" creationId="{DF93DEE0-68B0-CFF4-35CC-FBBCF1B35467}"/>
          </ac:grpSpMkLst>
        </pc:grpChg>
        <pc:grpChg chg="mod">
          <ac:chgData name="Westhoff, Amir" userId="8d048e8d-3042-4117-b8b6-5f176bda5671" providerId="ADAL" clId="{5AF1FC53-AFEF-4854-BDA8-B51B0122CBF2}" dt="2024-09-17T20:44:05.516" v="2783"/>
          <ac:grpSpMkLst>
            <pc:docMk/>
            <pc:sldMk cId="2764115968" sldId="2145706657"/>
            <ac:grpSpMk id="28" creationId="{0CC53D1C-AF9D-E5F0-4FAB-A9A52AC709F1}"/>
          </ac:grpSpMkLst>
        </pc:grpChg>
        <pc:grpChg chg="add mod">
          <ac:chgData name="Westhoff, Amir" userId="8d048e8d-3042-4117-b8b6-5f176bda5671" providerId="ADAL" clId="{5AF1FC53-AFEF-4854-BDA8-B51B0122CBF2}" dt="2024-09-17T20:44:09.085" v="2784" actId="207"/>
          <ac:grpSpMkLst>
            <pc:docMk/>
            <pc:sldMk cId="2764115968" sldId="2145706657"/>
            <ac:grpSpMk id="32" creationId="{F512EF1F-468A-126C-C00C-8C12DEBBA2B1}"/>
          </ac:grpSpMkLst>
        </pc:grpChg>
        <pc:grpChg chg="mod">
          <ac:chgData name="Westhoff, Amir" userId="8d048e8d-3042-4117-b8b6-5f176bda5671" providerId="ADAL" clId="{5AF1FC53-AFEF-4854-BDA8-B51B0122CBF2}" dt="2024-09-17T20:44:05.516" v="2783"/>
          <ac:grpSpMkLst>
            <pc:docMk/>
            <pc:sldMk cId="2764115968" sldId="2145706657"/>
            <ac:grpSpMk id="34" creationId="{A39FFD1E-2F59-3AFE-3465-ABE012C72074}"/>
          </ac:grpSpMkLst>
        </pc:grpChg>
        <pc:grpChg chg="add mod">
          <ac:chgData name="Westhoff, Amir" userId="8d048e8d-3042-4117-b8b6-5f176bda5671" providerId="ADAL" clId="{5AF1FC53-AFEF-4854-BDA8-B51B0122CBF2}" dt="2024-09-17T20:44:09.085" v="2784" actId="207"/>
          <ac:grpSpMkLst>
            <pc:docMk/>
            <pc:sldMk cId="2764115968" sldId="2145706657"/>
            <ac:grpSpMk id="40" creationId="{1140C050-CE78-4EBA-F1B2-C6DCBBC5EF8C}"/>
          </ac:grpSpMkLst>
        </pc:grpChg>
        <pc:grpChg chg="mod">
          <ac:chgData name="Westhoff, Amir" userId="8d048e8d-3042-4117-b8b6-5f176bda5671" providerId="ADAL" clId="{5AF1FC53-AFEF-4854-BDA8-B51B0122CBF2}" dt="2024-09-17T20:44:05.516" v="2783"/>
          <ac:grpSpMkLst>
            <pc:docMk/>
            <pc:sldMk cId="2764115968" sldId="2145706657"/>
            <ac:grpSpMk id="42" creationId="{BDD09912-CFCC-8A74-28B3-2A96DA47C99D}"/>
          </ac:grpSpMkLst>
        </pc:grpChg>
        <pc:grpChg chg="add mod">
          <ac:chgData name="Westhoff, Amir" userId="8d048e8d-3042-4117-b8b6-5f176bda5671" providerId="ADAL" clId="{5AF1FC53-AFEF-4854-BDA8-B51B0122CBF2}" dt="2024-09-17T20:44:09.085" v="2784" actId="207"/>
          <ac:grpSpMkLst>
            <pc:docMk/>
            <pc:sldMk cId="2764115968" sldId="2145706657"/>
            <ac:grpSpMk id="45" creationId="{FECC0664-6481-C407-4A40-1FDCEF6F0C1C}"/>
          </ac:grpSpMkLst>
        </pc:grpChg>
        <pc:grpChg chg="mod">
          <ac:chgData name="Westhoff, Amir" userId="8d048e8d-3042-4117-b8b6-5f176bda5671" providerId="ADAL" clId="{5AF1FC53-AFEF-4854-BDA8-B51B0122CBF2}" dt="2024-09-17T20:44:05.516" v="2783"/>
          <ac:grpSpMkLst>
            <pc:docMk/>
            <pc:sldMk cId="2764115968" sldId="2145706657"/>
            <ac:grpSpMk id="47" creationId="{FF58B351-D5DE-F5C1-1760-6733C8784126}"/>
          </ac:grpSpMkLst>
        </pc:grpChg>
        <pc:grpChg chg="mod">
          <ac:chgData name="Westhoff, Amir" userId="8d048e8d-3042-4117-b8b6-5f176bda5671" providerId="ADAL" clId="{5AF1FC53-AFEF-4854-BDA8-B51B0122CBF2}" dt="2024-09-17T20:44:05.516" v="2783"/>
          <ac:grpSpMkLst>
            <pc:docMk/>
            <pc:sldMk cId="2764115968" sldId="2145706657"/>
            <ac:grpSpMk id="48" creationId="{18AE4306-3FC0-A1B2-A7B1-63FA743B1222}"/>
          </ac:grpSpMkLst>
        </pc:grpChg>
        <pc:grpChg chg="add mod">
          <ac:chgData name="Westhoff, Amir" userId="8d048e8d-3042-4117-b8b6-5f176bda5671" providerId="ADAL" clId="{5AF1FC53-AFEF-4854-BDA8-B51B0122CBF2}" dt="2024-09-17T20:44:09.085" v="2784" actId="207"/>
          <ac:grpSpMkLst>
            <pc:docMk/>
            <pc:sldMk cId="2764115968" sldId="2145706657"/>
            <ac:grpSpMk id="53" creationId="{FA26D557-D95E-1C86-9787-33770564B187}"/>
          </ac:grpSpMkLst>
        </pc:grpChg>
        <pc:grpChg chg="mod">
          <ac:chgData name="Westhoff, Amir" userId="8d048e8d-3042-4117-b8b6-5f176bda5671" providerId="ADAL" clId="{5AF1FC53-AFEF-4854-BDA8-B51B0122CBF2}" dt="2024-09-17T20:44:05.516" v="2783"/>
          <ac:grpSpMkLst>
            <pc:docMk/>
            <pc:sldMk cId="2764115968" sldId="2145706657"/>
            <ac:grpSpMk id="55" creationId="{91D172AA-D787-65AC-8623-AFBF27746A6A}"/>
          </ac:grpSpMkLst>
        </pc:grpChg>
      </pc:sldChg>
      <pc:sldChg chg="addSp delSp modSp add mod ord modClrScheme chgLayout">
        <pc:chgData name="Westhoff, Amir" userId="8d048e8d-3042-4117-b8b6-5f176bda5671" providerId="ADAL" clId="{5AF1FC53-AFEF-4854-BDA8-B51B0122CBF2}" dt="2024-09-18T18:06:01.990" v="5112" actId="20577"/>
        <pc:sldMkLst>
          <pc:docMk/>
          <pc:sldMk cId="2659769016" sldId="2145706658"/>
        </pc:sldMkLst>
        <pc:spChg chg="del">
          <ac:chgData name="Westhoff, Amir" userId="8d048e8d-3042-4117-b8b6-5f176bda5671" providerId="ADAL" clId="{5AF1FC53-AFEF-4854-BDA8-B51B0122CBF2}" dt="2024-09-16T21:34:56.253" v="2293" actId="26606"/>
          <ac:spMkLst>
            <pc:docMk/>
            <pc:sldMk cId="2659769016" sldId="2145706658"/>
            <ac:spMk id="2" creationId="{DF28FB9B-DFCE-F414-D3A6-60EA047B68C6}"/>
          </ac:spMkLst>
        </pc:spChg>
        <pc:spChg chg="mod ord">
          <ac:chgData name="Westhoff, Amir" userId="8d048e8d-3042-4117-b8b6-5f176bda5671" providerId="ADAL" clId="{5AF1FC53-AFEF-4854-BDA8-B51B0122CBF2}" dt="2024-09-18T18:06:01.990" v="5112" actId="20577"/>
          <ac:spMkLst>
            <pc:docMk/>
            <pc:sldMk cId="2659769016" sldId="2145706658"/>
            <ac:spMk id="3" creationId="{5E7B48F3-94E0-956F-BF32-0D65115FA3C6}"/>
          </ac:spMkLst>
        </pc:spChg>
        <pc:spChg chg="mod ord">
          <ac:chgData name="Westhoff, Amir" userId="8d048e8d-3042-4117-b8b6-5f176bda5671" providerId="ADAL" clId="{5AF1FC53-AFEF-4854-BDA8-B51B0122CBF2}" dt="2024-09-16T21:34:56.253" v="2293" actId="26606"/>
          <ac:spMkLst>
            <pc:docMk/>
            <pc:sldMk cId="2659769016" sldId="2145706658"/>
            <ac:spMk id="4" creationId="{AF7B65AB-7C1D-486C-B0D9-52715E4F9B6F}"/>
          </ac:spMkLst>
        </pc:spChg>
        <pc:picChg chg="add mod">
          <ac:chgData name="Westhoff, Amir" userId="8d048e8d-3042-4117-b8b6-5f176bda5671" providerId="ADAL" clId="{5AF1FC53-AFEF-4854-BDA8-B51B0122CBF2}" dt="2024-09-16T21:35:12.216" v="2294"/>
          <ac:picMkLst>
            <pc:docMk/>
            <pc:sldMk cId="2659769016" sldId="2145706658"/>
            <ac:picMk id="6" creationId="{3BC623F6-109C-9AFB-8D99-DBC39C145A40}"/>
          </ac:picMkLst>
        </pc:picChg>
      </pc:sldChg>
      <pc:sldChg chg="addSp delSp modSp add mod ord modClrScheme modAnim chgLayout">
        <pc:chgData name="Westhoff, Amir" userId="8d048e8d-3042-4117-b8b6-5f176bda5671" providerId="ADAL" clId="{5AF1FC53-AFEF-4854-BDA8-B51B0122CBF2}" dt="2024-09-18T21:29:09.226" v="8429"/>
        <pc:sldMkLst>
          <pc:docMk/>
          <pc:sldMk cId="150913899" sldId="2145706659"/>
        </pc:sldMkLst>
        <pc:spChg chg="del">
          <ac:chgData name="Westhoff, Amir" userId="8d048e8d-3042-4117-b8b6-5f176bda5671" providerId="ADAL" clId="{5AF1FC53-AFEF-4854-BDA8-B51B0122CBF2}" dt="2024-09-16T21:30:16.161" v="2288" actId="26606"/>
          <ac:spMkLst>
            <pc:docMk/>
            <pc:sldMk cId="150913899" sldId="2145706659"/>
            <ac:spMk id="2" creationId="{DF28FB9B-DFCE-F414-D3A6-60EA047B68C6}"/>
          </ac:spMkLst>
        </pc:spChg>
        <pc:spChg chg="mod ord">
          <ac:chgData name="Westhoff, Amir" userId="8d048e8d-3042-4117-b8b6-5f176bda5671" providerId="ADAL" clId="{5AF1FC53-AFEF-4854-BDA8-B51B0122CBF2}" dt="2024-09-16T21:30:16.161" v="2288" actId="26606"/>
          <ac:spMkLst>
            <pc:docMk/>
            <pc:sldMk cId="150913899" sldId="2145706659"/>
            <ac:spMk id="3" creationId="{5E7B48F3-94E0-956F-BF32-0D65115FA3C6}"/>
          </ac:spMkLst>
        </pc:spChg>
        <pc:spChg chg="mod ord">
          <ac:chgData name="Westhoff, Amir" userId="8d048e8d-3042-4117-b8b6-5f176bda5671" providerId="ADAL" clId="{5AF1FC53-AFEF-4854-BDA8-B51B0122CBF2}" dt="2024-09-16T21:30:16.161" v="2288" actId="26606"/>
          <ac:spMkLst>
            <pc:docMk/>
            <pc:sldMk cId="150913899" sldId="2145706659"/>
            <ac:spMk id="4" creationId="{AF7B65AB-7C1D-486C-B0D9-52715E4F9B6F}"/>
          </ac:spMkLst>
        </pc:spChg>
        <pc:picChg chg="add mod">
          <ac:chgData name="Westhoff, Amir" userId="8d048e8d-3042-4117-b8b6-5f176bda5671" providerId="ADAL" clId="{5AF1FC53-AFEF-4854-BDA8-B51B0122CBF2}" dt="2024-09-16T21:30:16.161" v="2288" actId="26606"/>
          <ac:picMkLst>
            <pc:docMk/>
            <pc:sldMk cId="150913899" sldId="2145706659"/>
            <ac:picMk id="6" creationId="{7E020E5E-0832-2042-FE72-65E9A22DA7A8}"/>
          </ac:picMkLst>
        </pc:picChg>
      </pc:sldChg>
      <pc:sldChg chg="modSp new mod">
        <pc:chgData name="Westhoff, Amir" userId="8d048e8d-3042-4117-b8b6-5f176bda5671" providerId="ADAL" clId="{5AF1FC53-AFEF-4854-BDA8-B51B0122CBF2}" dt="2024-09-16T20:46:04.763" v="410" actId="20577"/>
        <pc:sldMkLst>
          <pc:docMk/>
          <pc:sldMk cId="3817606752" sldId="2145706660"/>
        </pc:sldMkLst>
        <pc:spChg chg="mod">
          <ac:chgData name="Westhoff, Amir" userId="8d048e8d-3042-4117-b8b6-5f176bda5671" providerId="ADAL" clId="{5AF1FC53-AFEF-4854-BDA8-B51B0122CBF2}" dt="2024-09-16T20:46:04.763" v="410" actId="20577"/>
          <ac:spMkLst>
            <pc:docMk/>
            <pc:sldMk cId="3817606752" sldId="2145706660"/>
            <ac:spMk id="2" creationId="{6286D751-FD46-EE95-8250-CB79BABCC709}"/>
          </ac:spMkLst>
        </pc:spChg>
      </pc:sldChg>
      <pc:sldChg chg="modSp add mod">
        <pc:chgData name="Westhoff, Amir" userId="8d048e8d-3042-4117-b8b6-5f176bda5671" providerId="ADAL" clId="{5AF1FC53-AFEF-4854-BDA8-B51B0122CBF2}" dt="2024-09-16T20:47:01.934" v="473" actId="20577"/>
        <pc:sldMkLst>
          <pc:docMk/>
          <pc:sldMk cId="1853560338" sldId="2145706661"/>
        </pc:sldMkLst>
        <pc:spChg chg="mod">
          <ac:chgData name="Westhoff, Amir" userId="8d048e8d-3042-4117-b8b6-5f176bda5671" providerId="ADAL" clId="{5AF1FC53-AFEF-4854-BDA8-B51B0122CBF2}" dt="2024-09-16T20:47:01.934" v="473" actId="20577"/>
          <ac:spMkLst>
            <pc:docMk/>
            <pc:sldMk cId="1853560338" sldId="2145706661"/>
            <ac:spMk id="2" creationId="{6286D751-FD46-EE95-8250-CB79BABCC709}"/>
          </ac:spMkLst>
        </pc:spChg>
      </pc:sldChg>
      <pc:sldChg chg="modSp add mod">
        <pc:chgData name="Westhoff, Amir" userId="8d048e8d-3042-4117-b8b6-5f176bda5671" providerId="ADAL" clId="{5AF1FC53-AFEF-4854-BDA8-B51B0122CBF2}" dt="2024-09-17T20:51:42.022" v="2913" actId="20577"/>
        <pc:sldMkLst>
          <pc:docMk/>
          <pc:sldMk cId="2341956184" sldId="2145706662"/>
        </pc:sldMkLst>
        <pc:spChg chg="mod">
          <ac:chgData name="Westhoff, Amir" userId="8d048e8d-3042-4117-b8b6-5f176bda5671" providerId="ADAL" clId="{5AF1FC53-AFEF-4854-BDA8-B51B0122CBF2}" dt="2024-09-17T20:51:42.022" v="2913" actId="20577"/>
          <ac:spMkLst>
            <pc:docMk/>
            <pc:sldMk cId="2341956184" sldId="2145706662"/>
            <ac:spMk id="2" creationId="{6286D751-FD46-EE95-8250-CB79BABCC709}"/>
          </ac:spMkLst>
        </pc:spChg>
      </pc:sldChg>
      <pc:sldChg chg="modSp add mod">
        <pc:chgData name="Westhoff, Amir" userId="8d048e8d-3042-4117-b8b6-5f176bda5671" providerId="ADAL" clId="{5AF1FC53-AFEF-4854-BDA8-B51B0122CBF2}" dt="2024-09-16T20:51:11.724" v="593" actId="20577"/>
        <pc:sldMkLst>
          <pc:docMk/>
          <pc:sldMk cId="3284037956" sldId="2145706663"/>
        </pc:sldMkLst>
        <pc:spChg chg="mod">
          <ac:chgData name="Westhoff, Amir" userId="8d048e8d-3042-4117-b8b6-5f176bda5671" providerId="ADAL" clId="{5AF1FC53-AFEF-4854-BDA8-B51B0122CBF2}" dt="2024-09-16T20:51:11.724" v="593" actId="20577"/>
          <ac:spMkLst>
            <pc:docMk/>
            <pc:sldMk cId="3284037956" sldId="2145706663"/>
            <ac:spMk id="2" creationId="{6286D751-FD46-EE95-8250-CB79BABCC709}"/>
          </ac:spMkLst>
        </pc:spChg>
      </pc:sldChg>
      <pc:sldChg chg="modSp add mod">
        <pc:chgData name="Westhoff, Amir" userId="8d048e8d-3042-4117-b8b6-5f176bda5671" providerId="ADAL" clId="{5AF1FC53-AFEF-4854-BDA8-B51B0122CBF2}" dt="2024-09-16T20:51:15.766" v="604" actId="20577"/>
        <pc:sldMkLst>
          <pc:docMk/>
          <pc:sldMk cId="300570926" sldId="2145706664"/>
        </pc:sldMkLst>
        <pc:spChg chg="mod">
          <ac:chgData name="Westhoff, Amir" userId="8d048e8d-3042-4117-b8b6-5f176bda5671" providerId="ADAL" clId="{5AF1FC53-AFEF-4854-BDA8-B51B0122CBF2}" dt="2024-09-16T20:51:15.766" v="604" actId="20577"/>
          <ac:spMkLst>
            <pc:docMk/>
            <pc:sldMk cId="300570926" sldId="2145706664"/>
            <ac:spMk id="2" creationId="{6286D751-FD46-EE95-8250-CB79BABCC709}"/>
          </ac:spMkLst>
        </pc:spChg>
      </pc:sldChg>
      <pc:sldChg chg="addSp delSp modSp new mod">
        <pc:chgData name="Westhoff, Amir" userId="8d048e8d-3042-4117-b8b6-5f176bda5671" providerId="ADAL" clId="{5AF1FC53-AFEF-4854-BDA8-B51B0122CBF2}" dt="2024-09-16T21:39:24.490" v="2482" actId="14100"/>
        <pc:sldMkLst>
          <pc:docMk/>
          <pc:sldMk cId="49392282" sldId="2145706665"/>
        </pc:sldMkLst>
        <pc:spChg chg="mod">
          <ac:chgData name="Westhoff, Amir" userId="8d048e8d-3042-4117-b8b6-5f176bda5671" providerId="ADAL" clId="{5AF1FC53-AFEF-4854-BDA8-B51B0122CBF2}" dt="2024-09-16T20:49:52.339" v="545" actId="20577"/>
          <ac:spMkLst>
            <pc:docMk/>
            <pc:sldMk cId="49392282" sldId="2145706665"/>
            <ac:spMk id="3" creationId="{A9B5B7E2-0C77-F351-C106-78BC3F5D8B3A}"/>
          </ac:spMkLst>
        </pc:spChg>
        <pc:spChg chg="add mod">
          <ac:chgData name="Westhoff, Amir" userId="8d048e8d-3042-4117-b8b6-5f176bda5671" providerId="ADAL" clId="{5AF1FC53-AFEF-4854-BDA8-B51B0122CBF2}" dt="2024-09-16T21:36:13.628" v="2300" actId="14100"/>
          <ac:spMkLst>
            <pc:docMk/>
            <pc:sldMk cId="49392282" sldId="2145706665"/>
            <ac:spMk id="4" creationId="{770CA3E7-97DE-7DE2-D24E-474A88E1E4DC}"/>
          </ac:spMkLst>
        </pc:spChg>
        <pc:spChg chg="add mod">
          <ac:chgData name="Westhoff, Amir" userId="8d048e8d-3042-4117-b8b6-5f176bda5671" providerId="ADAL" clId="{5AF1FC53-AFEF-4854-BDA8-B51B0122CBF2}" dt="2024-09-16T21:37:03.551" v="2345" actId="554"/>
          <ac:spMkLst>
            <pc:docMk/>
            <pc:sldMk cId="49392282" sldId="2145706665"/>
            <ac:spMk id="8" creationId="{B207CBA8-95FB-8064-7747-758BAA711503}"/>
          </ac:spMkLst>
        </pc:spChg>
        <pc:spChg chg="add mod">
          <ac:chgData name="Westhoff, Amir" userId="8d048e8d-3042-4117-b8b6-5f176bda5671" providerId="ADAL" clId="{5AF1FC53-AFEF-4854-BDA8-B51B0122CBF2}" dt="2024-09-16T21:37:03.551" v="2345" actId="554"/>
          <ac:spMkLst>
            <pc:docMk/>
            <pc:sldMk cId="49392282" sldId="2145706665"/>
            <ac:spMk id="9" creationId="{C7CE5BC3-E424-2A6D-CE72-EBFD00391FE2}"/>
          </ac:spMkLst>
        </pc:spChg>
        <pc:spChg chg="add mod">
          <ac:chgData name="Westhoff, Amir" userId="8d048e8d-3042-4117-b8b6-5f176bda5671" providerId="ADAL" clId="{5AF1FC53-AFEF-4854-BDA8-B51B0122CBF2}" dt="2024-09-16T21:37:03.551" v="2345" actId="554"/>
          <ac:spMkLst>
            <pc:docMk/>
            <pc:sldMk cId="49392282" sldId="2145706665"/>
            <ac:spMk id="10" creationId="{6BCB2D05-E57F-AE2F-6E69-A5C9F5E3864D}"/>
          </ac:spMkLst>
        </pc:spChg>
        <pc:spChg chg="add mod">
          <ac:chgData name="Westhoff, Amir" userId="8d048e8d-3042-4117-b8b6-5f176bda5671" providerId="ADAL" clId="{5AF1FC53-AFEF-4854-BDA8-B51B0122CBF2}" dt="2024-09-16T21:38:03.269" v="2465" actId="1076"/>
          <ac:spMkLst>
            <pc:docMk/>
            <pc:sldMk cId="49392282" sldId="2145706665"/>
            <ac:spMk id="11" creationId="{9DC10959-D1DC-0DA5-CF30-035F905A5857}"/>
          </ac:spMkLst>
        </pc:spChg>
        <pc:spChg chg="add mod">
          <ac:chgData name="Westhoff, Amir" userId="8d048e8d-3042-4117-b8b6-5f176bda5671" providerId="ADAL" clId="{5AF1FC53-AFEF-4854-BDA8-B51B0122CBF2}" dt="2024-09-16T21:38:05.999" v="2466" actId="1076"/>
          <ac:spMkLst>
            <pc:docMk/>
            <pc:sldMk cId="49392282" sldId="2145706665"/>
            <ac:spMk id="12" creationId="{4547DEF4-1F39-6931-0378-1D90CBA29AC8}"/>
          </ac:spMkLst>
        </pc:spChg>
        <pc:spChg chg="add mod">
          <ac:chgData name="Westhoff, Amir" userId="8d048e8d-3042-4117-b8b6-5f176bda5671" providerId="ADAL" clId="{5AF1FC53-AFEF-4854-BDA8-B51B0122CBF2}" dt="2024-09-16T21:37:54.740" v="2462" actId="122"/>
          <ac:spMkLst>
            <pc:docMk/>
            <pc:sldMk cId="49392282" sldId="2145706665"/>
            <ac:spMk id="13" creationId="{1A759398-7B54-195B-0B02-EC0186FACA7C}"/>
          </ac:spMkLst>
        </pc:spChg>
        <pc:spChg chg="add del">
          <ac:chgData name="Westhoff, Amir" userId="8d048e8d-3042-4117-b8b6-5f176bda5671" providerId="ADAL" clId="{5AF1FC53-AFEF-4854-BDA8-B51B0122CBF2}" dt="2024-09-16T21:38:11.857" v="2468" actId="11529"/>
          <ac:spMkLst>
            <pc:docMk/>
            <pc:sldMk cId="49392282" sldId="2145706665"/>
            <ac:spMk id="14" creationId="{6C1E44D6-BFFF-FF09-75EA-2A829E0FA8A2}"/>
          </ac:spMkLst>
        </pc:spChg>
        <pc:spChg chg="add mod">
          <ac:chgData name="Westhoff, Amir" userId="8d048e8d-3042-4117-b8b6-5f176bda5671" providerId="ADAL" clId="{5AF1FC53-AFEF-4854-BDA8-B51B0122CBF2}" dt="2024-09-16T21:39:19.598" v="2480" actId="1076"/>
          <ac:spMkLst>
            <pc:docMk/>
            <pc:sldMk cId="49392282" sldId="2145706665"/>
            <ac:spMk id="15" creationId="{B52F3DA1-8E07-5275-579F-1982D7DCC6FF}"/>
          </ac:spMkLst>
        </pc:spChg>
        <pc:spChg chg="add mod">
          <ac:chgData name="Westhoff, Amir" userId="8d048e8d-3042-4117-b8b6-5f176bda5671" providerId="ADAL" clId="{5AF1FC53-AFEF-4854-BDA8-B51B0122CBF2}" dt="2024-09-16T21:38:57.115" v="2476" actId="13822"/>
          <ac:spMkLst>
            <pc:docMk/>
            <pc:sldMk cId="49392282" sldId="2145706665"/>
            <ac:spMk id="16" creationId="{A9B5783F-70E4-A15D-62E9-F8B0A0FB480C}"/>
          </ac:spMkLst>
        </pc:spChg>
        <pc:spChg chg="add mod">
          <ac:chgData name="Westhoff, Amir" userId="8d048e8d-3042-4117-b8b6-5f176bda5671" providerId="ADAL" clId="{5AF1FC53-AFEF-4854-BDA8-B51B0122CBF2}" dt="2024-09-16T21:38:57.115" v="2476" actId="13822"/>
          <ac:spMkLst>
            <pc:docMk/>
            <pc:sldMk cId="49392282" sldId="2145706665"/>
            <ac:spMk id="17" creationId="{D50F4C77-C559-E4B8-5856-A1856F5813B7}"/>
          </ac:spMkLst>
        </pc:spChg>
        <pc:cxnChg chg="add mod">
          <ac:chgData name="Westhoff, Amir" userId="8d048e8d-3042-4117-b8b6-5f176bda5671" providerId="ADAL" clId="{5AF1FC53-AFEF-4854-BDA8-B51B0122CBF2}" dt="2024-09-16T21:37:07.417" v="2346" actId="1076"/>
          <ac:cxnSpMkLst>
            <pc:docMk/>
            <pc:sldMk cId="49392282" sldId="2145706665"/>
            <ac:cxnSpMk id="6" creationId="{5BBDB023-7274-05E4-7D32-3D9E614CD4EB}"/>
          </ac:cxnSpMkLst>
        </pc:cxnChg>
        <pc:cxnChg chg="add mod">
          <ac:chgData name="Westhoff, Amir" userId="8d048e8d-3042-4117-b8b6-5f176bda5671" providerId="ADAL" clId="{5AF1FC53-AFEF-4854-BDA8-B51B0122CBF2}" dt="2024-09-16T21:37:09.425" v="2347" actId="1076"/>
          <ac:cxnSpMkLst>
            <pc:docMk/>
            <pc:sldMk cId="49392282" sldId="2145706665"/>
            <ac:cxnSpMk id="7" creationId="{05EADD7E-4E2E-45B3-6113-6758B42067D4}"/>
          </ac:cxnSpMkLst>
        </pc:cxnChg>
        <pc:cxnChg chg="add">
          <ac:chgData name="Westhoff, Amir" userId="8d048e8d-3042-4117-b8b6-5f176bda5671" providerId="ADAL" clId="{5AF1FC53-AFEF-4854-BDA8-B51B0122CBF2}" dt="2024-09-16T21:39:04.867" v="2477" actId="11529"/>
          <ac:cxnSpMkLst>
            <pc:docMk/>
            <pc:sldMk cId="49392282" sldId="2145706665"/>
            <ac:cxnSpMk id="19" creationId="{D531EF9C-58F2-9D15-277F-09A239BB57F0}"/>
          </ac:cxnSpMkLst>
        </pc:cxnChg>
        <pc:cxnChg chg="add">
          <ac:chgData name="Westhoff, Amir" userId="8d048e8d-3042-4117-b8b6-5f176bda5671" providerId="ADAL" clId="{5AF1FC53-AFEF-4854-BDA8-B51B0122CBF2}" dt="2024-09-16T21:39:13.490" v="2478" actId="11529"/>
          <ac:cxnSpMkLst>
            <pc:docMk/>
            <pc:sldMk cId="49392282" sldId="2145706665"/>
            <ac:cxnSpMk id="21" creationId="{F09E7AC6-B737-5904-121F-6C975FD6CAB2}"/>
          </ac:cxnSpMkLst>
        </pc:cxnChg>
        <pc:cxnChg chg="add mod">
          <ac:chgData name="Westhoff, Amir" userId="8d048e8d-3042-4117-b8b6-5f176bda5671" providerId="ADAL" clId="{5AF1FC53-AFEF-4854-BDA8-B51B0122CBF2}" dt="2024-09-16T21:39:24.490" v="2482" actId="14100"/>
          <ac:cxnSpMkLst>
            <pc:docMk/>
            <pc:sldMk cId="49392282" sldId="2145706665"/>
            <ac:cxnSpMk id="23" creationId="{1087B62A-0E80-B356-6DCA-B6256382584F}"/>
          </ac:cxnSpMkLst>
        </pc:cxnChg>
      </pc:sldChg>
      <pc:sldChg chg="new del">
        <pc:chgData name="Westhoff, Amir" userId="8d048e8d-3042-4117-b8b6-5f176bda5671" providerId="ADAL" clId="{5AF1FC53-AFEF-4854-BDA8-B51B0122CBF2}" dt="2024-09-16T20:56:45.649" v="752" actId="47"/>
        <pc:sldMkLst>
          <pc:docMk/>
          <pc:sldMk cId="4116178564" sldId="2145706666"/>
        </pc:sldMkLst>
      </pc:sldChg>
      <pc:sldChg chg="modSp new del mod ord">
        <pc:chgData name="Westhoff, Amir" userId="8d048e8d-3042-4117-b8b6-5f176bda5671" providerId="ADAL" clId="{5AF1FC53-AFEF-4854-BDA8-B51B0122CBF2}" dt="2024-09-16T21:04:02.731" v="1010" actId="47"/>
        <pc:sldMkLst>
          <pc:docMk/>
          <pc:sldMk cId="2938363541" sldId="2145706667"/>
        </pc:sldMkLst>
        <pc:spChg chg="mod">
          <ac:chgData name="Westhoff, Amir" userId="8d048e8d-3042-4117-b8b6-5f176bda5671" providerId="ADAL" clId="{5AF1FC53-AFEF-4854-BDA8-B51B0122CBF2}" dt="2024-09-16T20:58:21.768" v="833"/>
          <ac:spMkLst>
            <pc:docMk/>
            <pc:sldMk cId="2938363541" sldId="2145706667"/>
            <ac:spMk id="2" creationId="{31A90110-B121-C3AD-4E6D-B4131F3B595E}"/>
          </ac:spMkLst>
        </pc:spChg>
        <pc:spChg chg="mod">
          <ac:chgData name="Westhoff, Amir" userId="8d048e8d-3042-4117-b8b6-5f176bda5671" providerId="ADAL" clId="{5AF1FC53-AFEF-4854-BDA8-B51B0122CBF2}" dt="2024-09-16T21:03:41.875" v="1005" actId="20577"/>
          <ac:spMkLst>
            <pc:docMk/>
            <pc:sldMk cId="2938363541" sldId="2145706667"/>
            <ac:spMk id="4" creationId="{8EA8629F-B321-D125-378B-2918F93A2254}"/>
          </ac:spMkLst>
        </pc:spChg>
      </pc:sldChg>
      <pc:sldChg chg="new del">
        <pc:chgData name="Westhoff, Amir" userId="8d048e8d-3042-4117-b8b6-5f176bda5671" providerId="ADAL" clId="{5AF1FC53-AFEF-4854-BDA8-B51B0122CBF2}" dt="2024-09-16T21:49:35.928" v="2547" actId="47"/>
        <pc:sldMkLst>
          <pc:docMk/>
          <pc:sldMk cId="460545128" sldId="2145706668"/>
        </pc:sldMkLst>
      </pc:sldChg>
      <pc:sldChg chg="new del">
        <pc:chgData name="Westhoff, Amir" userId="8d048e8d-3042-4117-b8b6-5f176bda5671" providerId="ADAL" clId="{5AF1FC53-AFEF-4854-BDA8-B51B0122CBF2}" dt="2024-09-17T23:36:53.402" v="4620" actId="47"/>
        <pc:sldMkLst>
          <pc:docMk/>
          <pc:sldMk cId="1251631186" sldId="2145706669"/>
        </pc:sldMkLst>
      </pc:sldChg>
      <pc:sldChg chg="modSp add mod">
        <pc:chgData name="Westhoff, Amir" userId="8d048e8d-3042-4117-b8b6-5f176bda5671" providerId="ADAL" clId="{5AF1FC53-AFEF-4854-BDA8-B51B0122CBF2}" dt="2024-09-17T22:13:19.614" v="3753" actId="20577"/>
        <pc:sldMkLst>
          <pc:docMk/>
          <pc:sldMk cId="858775066" sldId="2145706670"/>
        </pc:sldMkLst>
        <pc:spChg chg="mod">
          <ac:chgData name="Westhoff, Amir" userId="8d048e8d-3042-4117-b8b6-5f176bda5671" providerId="ADAL" clId="{5AF1FC53-AFEF-4854-BDA8-B51B0122CBF2}" dt="2024-09-17T22:13:19.614" v="3753" actId="20577"/>
          <ac:spMkLst>
            <pc:docMk/>
            <pc:sldMk cId="858775066" sldId="2145706670"/>
            <ac:spMk id="3" creationId="{70440F56-B14B-014F-B750-5E1D7B85286E}"/>
          </ac:spMkLst>
        </pc:spChg>
        <pc:spChg chg="mod">
          <ac:chgData name="Westhoff, Amir" userId="8d048e8d-3042-4117-b8b6-5f176bda5671" providerId="ADAL" clId="{5AF1FC53-AFEF-4854-BDA8-B51B0122CBF2}" dt="2024-09-16T20:54:41.461" v="660"/>
          <ac:spMkLst>
            <pc:docMk/>
            <pc:sldMk cId="858775066" sldId="2145706670"/>
            <ac:spMk id="4" creationId="{8EA8629F-B321-D125-378B-2918F93A2254}"/>
          </ac:spMkLst>
        </pc:spChg>
      </pc:sldChg>
      <pc:sldChg chg="modSp add del mod">
        <pc:chgData name="Westhoff, Amir" userId="8d048e8d-3042-4117-b8b6-5f176bda5671" providerId="ADAL" clId="{5AF1FC53-AFEF-4854-BDA8-B51B0122CBF2}" dt="2024-09-17T23:11:17.669" v="4370" actId="47"/>
        <pc:sldMkLst>
          <pc:docMk/>
          <pc:sldMk cId="1096092653" sldId="2145706671"/>
        </pc:sldMkLst>
        <pc:spChg chg="mod">
          <ac:chgData name="Westhoff, Amir" userId="8d048e8d-3042-4117-b8b6-5f176bda5671" providerId="ADAL" clId="{5AF1FC53-AFEF-4854-BDA8-B51B0122CBF2}" dt="2024-09-16T21:49:27.523" v="2543" actId="20577"/>
          <ac:spMkLst>
            <pc:docMk/>
            <pc:sldMk cId="1096092653" sldId="2145706671"/>
            <ac:spMk id="4" creationId="{8EA8629F-B321-D125-378B-2918F93A2254}"/>
          </ac:spMkLst>
        </pc:spChg>
      </pc:sldChg>
      <pc:sldChg chg="modSp add mod">
        <pc:chgData name="Westhoff, Amir" userId="8d048e8d-3042-4117-b8b6-5f176bda5671" providerId="ADAL" clId="{5AF1FC53-AFEF-4854-BDA8-B51B0122CBF2}" dt="2024-09-18T20:39:52.955" v="7526" actId="20577"/>
        <pc:sldMkLst>
          <pc:docMk/>
          <pc:sldMk cId="274480292" sldId="2145706672"/>
        </pc:sldMkLst>
        <pc:spChg chg="mod">
          <ac:chgData name="Westhoff, Amir" userId="8d048e8d-3042-4117-b8b6-5f176bda5671" providerId="ADAL" clId="{5AF1FC53-AFEF-4854-BDA8-B51B0122CBF2}" dt="2024-09-18T20:39:52.955" v="7526" actId="20577"/>
          <ac:spMkLst>
            <pc:docMk/>
            <pc:sldMk cId="274480292" sldId="2145706672"/>
            <ac:spMk id="3" creationId="{70440F56-B14B-014F-B750-5E1D7B85286E}"/>
          </ac:spMkLst>
        </pc:spChg>
        <pc:spChg chg="mod">
          <ac:chgData name="Westhoff, Amir" userId="8d048e8d-3042-4117-b8b6-5f176bda5671" providerId="ADAL" clId="{5AF1FC53-AFEF-4854-BDA8-B51B0122CBF2}" dt="2024-09-16T20:54:49.899" v="662"/>
          <ac:spMkLst>
            <pc:docMk/>
            <pc:sldMk cId="274480292" sldId="2145706672"/>
            <ac:spMk id="4" creationId="{8EA8629F-B321-D125-378B-2918F93A2254}"/>
          </ac:spMkLst>
        </pc:spChg>
      </pc:sldChg>
      <pc:sldChg chg="modSp add mod ord">
        <pc:chgData name="Westhoff, Amir" userId="8d048e8d-3042-4117-b8b6-5f176bda5671" providerId="ADAL" clId="{5AF1FC53-AFEF-4854-BDA8-B51B0122CBF2}" dt="2024-09-18T18:18:39.997" v="5217" actId="20577"/>
        <pc:sldMkLst>
          <pc:docMk/>
          <pc:sldMk cId="136745617" sldId="2145706673"/>
        </pc:sldMkLst>
        <pc:spChg chg="mod">
          <ac:chgData name="Westhoff, Amir" userId="8d048e8d-3042-4117-b8b6-5f176bda5671" providerId="ADAL" clId="{5AF1FC53-AFEF-4854-BDA8-B51B0122CBF2}" dt="2024-09-18T18:18:39.997" v="5217" actId="20577"/>
          <ac:spMkLst>
            <pc:docMk/>
            <pc:sldMk cId="136745617" sldId="2145706673"/>
            <ac:spMk id="3" creationId="{70440F56-B14B-014F-B750-5E1D7B85286E}"/>
          </ac:spMkLst>
        </pc:spChg>
        <pc:spChg chg="mod">
          <ac:chgData name="Westhoff, Amir" userId="8d048e8d-3042-4117-b8b6-5f176bda5671" providerId="ADAL" clId="{5AF1FC53-AFEF-4854-BDA8-B51B0122CBF2}" dt="2024-09-16T20:54:34.497" v="659" actId="20577"/>
          <ac:spMkLst>
            <pc:docMk/>
            <pc:sldMk cId="136745617" sldId="2145706673"/>
            <ac:spMk id="4" creationId="{8EA8629F-B321-D125-378B-2918F93A2254}"/>
          </ac:spMkLst>
        </pc:spChg>
      </pc:sldChg>
      <pc:sldChg chg="add">
        <pc:chgData name="Westhoff, Amir" userId="8d048e8d-3042-4117-b8b6-5f176bda5671" providerId="ADAL" clId="{5AF1FC53-AFEF-4854-BDA8-B51B0122CBF2}" dt="2024-09-16T20:56:48.326" v="753"/>
        <pc:sldMkLst>
          <pc:docMk/>
          <pc:sldMk cId="4277312900" sldId="2145706674"/>
        </pc:sldMkLst>
      </pc:sldChg>
      <pc:sldChg chg="add modAnim">
        <pc:chgData name="Westhoff, Amir" userId="8d048e8d-3042-4117-b8b6-5f176bda5671" providerId="ADAL" clId="{5AF1FC53-AFEF-4854-BDA8-B51B0122CBF2}" dt="2024-09-18T21:30:38.170" v="8445"/>
        <pc:sldMkLst>
          <pc:docMk/>
          <pc:sldMk cId="1695943381" sldId="2145706675"/>
        </pc:sldMkLst>
      </pc:sldChg>
      <pc:sldChg chg="add modAnim">
        <pc:chgData name="Westhoff, Amir" userId="8d048e8d-3042-4117-b8b6-5f176bda5671" providerId="ADAL" clId="{5AF1FC53-AFEF-4854-BDA8-B51B0122CBF2}" dt="2024-09-18T21:30:54.975" v="8447"/>
        <pc:sldMkLst>
          <pc:docMk/>
          <pc:sldMk cId="133806740" sldId="2145706676"/>
        </pc:sldMkLst>
      </pc:sldChg>
      <pc:sldChg chg="add">
        <pc:chgData name="Westhoff, Amir" userId="8d048e8d-3042-4117-b8b6-5f176bda5671" providerId="ADAL" clId="{5AF1FC53-AFEF-4854-BDA8-B51B0122CBF2}" dt="2024-09-16T20:56:48.326" v="753"/>
        <pc:sldMkLst>
          <pc:docMk/>
          <pc:sldMk cId="2158321784" sldId="2145706677"/>
        </pc:sldMkLst>
      </pc:sldChg>
      <pc:sldChg chg="addSp delSp modSp add mod modAnim">
        <pc:chgData name="Westhoff, Amir" userId="8d048e8d-3042-4117-b8b6-5f176bda5671" providerId="ADAL" clId="{5AF1FC53-AFEF-4854-BDA8-B51B0122CBF2}" dt="2024-09-18T21:34:26.565" v="8486"/>
        <pc:sldMkLst>
          <pc:docMk/>
          <pc:sldMk cId="1733748314" sldId="2145706678"/>
        </pc:sldMkLst>
        <pc:spChg chg="del mod">
          <ac:chgData name="Westhoff, Amir" userId="8d048e8d-3042-4117-b8b6-5f176bda5671" providerId="ADAL" clId="{5AF1FC53-AFEF-4854-BDA8-B51B0122CBF2}" dt="2024-09-17T22:19:20.041" v="3776" actId="478"/>
          <ac:spMkLst>
            <pc:docMk/>
            <pc:sldMk cId="1733748314" sldId="2145706678"/>
            <ac:spMk id="2" creationId="{31A90110-B121-C3AD-4E6D-B4131F3B595E}"/>
          </ac:spMkLst>
        </pc:spChg>
        <pc:spChg chg="mod">
          <ac:chgData name="Westhoff, Amir" userId="8d048e8d-3042-4117-b8b6-5f176bda5671" providerId="ADAL" clId="{5AF1FC53-AFEF-4854-BDA8-B51B0122CBF2}" dt="2024-09-17T22:27:03.745" v="3984" actId="14100"/>
          <ac:spMkLst>
            <pc:docMk/>
            <pc:sldMk cId="1733748314" sldId="2145706678"/>
            <ac:spMk id="3" creationId="{70440F56-B14B-014F-B750-5E1D7B85286E}"/>
          </ac:spMkLst>
        </pc:spChg>
        <pc:spChg chg="mod">
          <ac:chgData name="Westhoff, Amir" userId="8d048e8d-3042-4117-b8b6-5f176bda5671" providerId="ADAL" clId="{5AF1FC53-AFEF-4854-BDA8-B51B0122CBF2}" dt="2024-09-17T22:24:27.556" v="3905" actId="20577"/>
          <ac:spMkLst>
            <pc:docMk/>
            <pc:sldMk cId="1733748314" sldId="2145706678"/>
            <ac:spMk id="4" creationId="{8EA8629F-B321-D125-378B-2918F93A2254}"/>
          </ac:spMkLst>
        </pc:spChg>
        <pc:spChg chg="add mod">
          <ac:chgData name="Westhoff, Amir" userId="8d048e8d-3042-4117-b8b6-5f176bda5671" providerId="ADAL" clId="{5AF1FC53-AFEF-4854-BDA8-B51B0122CBF2}" dt="2024-09-17T22:19:00.794" v="3771"/>
          <ac:spMkLst>
            <pc:docMk/>
            <pc:sldMk cId="1733748314" sldId="2145706678"/>
            <ac:spMk id="5" creationId="{AC4467F3-790D-3175-15C8-E121CE0DA3A2}"/>
          </ac:spMkLst>
        </pc:spChg>
        <pc:spChg chg="add del mod">
          <ac:chgData name="Westhoff, Amir" userId="8d048e8d-3042-4117-b8b6-5f176bda5671" providerId="ADAL" clId="{5AF1FC53-AFEF-4854-BDA8-B51B0122CBF2}" dt="2024-09-17T22:19:09.608" v="3773" actId="478"/>
          <ac:spMkLst>
            <pc:docMk/>
            <pc:sldMk cId="1733748314" sldId="2145706678"/>
            <ac:spMk id="6" creationId="{486292BA-F751-4A89-0A46-CBE248454D57}"/>
          </ac:spMkLst>
        </pc:spChg>
        <pc:spChg chg="add del mod">
          <ac:chgData name="Westhoff, Amir" userId="8d048e8d-3042-4117-b8b6-5f176bda5671" providerId="ADAL" clId="{5AF1FC53-AFEF-4854-BDA8-B51B0122CBF2}" dt="2024-09-17T22:19:17.381" v="3775" actId="478"/>
          <ac:spMkLst>
            <pc:docMk/>
            <pc:sldMk cId="1733748314" sldId="2145706678"/>
            <ac:spMk id="7" creationId="{5CB9AED3-4F6F-240B-21D3-F94D7F440733}"/>
          </ac:spMkLst>
        </pc:spChg>
        <pc:picChg chg="add mod">
          <ac:chgData name="Westhoff, Amir" userId="8d048e8d-3042-4117-b8b6-5f176bda5671" providerId="ADAL" clId="{5AF1FC53-AFEF-4854-BDA8-B51B0122CBF2}" dt="2024-09-17T22:28:53.844" v="3991" actId="1076"/>
          <ac:picMkLst>
            <pc:docMk/>
            <pc:sldMk cId="1733748314" sldId="2145706678"/>
            <ac:picMk id="9" creationId="{CA92B227-3E0C-BDC2-3C9F-135BCF80BCB9}"/>
          </ac:picMkLst>
        </pc:picChg>
        <pc:picChg chg="add mod">
          <ac:chgData name="Westhoff, Amir" userId="8d048e8d-3042-4117-b8b6-5f176bda5671" providerId="ADAL" clId="{5AF1FC53-AFEF-4854-BDA8-B51B0122CBF2}" dt="2024-09-17T22:28:59.262" v="3993" actId="14100"/>
          <ac:picMkLst>
            <pc:docMk/>
            <pc:sldMk cId="1733748314" sldId="2145706678"/>
            <ac:picMk id="11" creationId="{BA975403-A2F3-ABE5-9392-0CD5B70157A7}"/>
          </ac:picMkLst>
        </pc:picChg>
        <pc:picChg chg="add mod">
          <ac:chgData name="Westhoff, Amir" userId="8d048e8d-3042-4117-b8b6-5f176bda5671" providerId="ADAL" clId="{5AF1FC53-AFEF-4854-BDA8-B51B0122CBF2}" dt="2024-09-17T22:28:45.636" v="3986" actId="1076"/>
          <ac:picMkLst>
            <pc:docMk/>
            <pc:sldMk cId="1733748314" sldId="2145706678"/>
            <ac:picMk id="1026" creationId="{355B9B1E-BC51-D9CC-38FB-34A8FE0DC829}"/>
          </ac:picMkLst>
        </pc:picChg>
        <pc:picChg chg="add del mod">
          <ac:chgData name="Westhoff, Amir" userId="8d048e8d-3042-4117-b8b6-5f176bda5671" providerId="ADAL" clId="{5AF1FC53-AFEF-4854-BDA8-B51B0122CBF2}" dt="2024-09-17T22:17:39.268" v="3768" actId="478"/>
          <ac:picMkLst>
            <pc:docMk/>
            <pc:sldMk cId="1733748314" sldId="2145706678"/>
            <ac:picMk id="1028" creationId="{BE417EC7-952A-22EB-613C-5B9CA82EEC5E}"/>
          </ac:picMkLst>
        </pc:picChg>
        <pc:picChg chg="add del mod">
          <ac:chgData name="Westhoff, Amir" userId="8d048e8d-3042-4117-b8b6-5f176bda5671" providerId="ADAL" clId="{5AF1FC53-AFEF-4854-BDA8-B51B0122CBF2}" dt="2024-09-17T22:18:42.857" v="3770" actId="478"/>
          <ac:picMkLst>
            <pc:docMk/>
            <pc:sldMk cId="1733748314" sldId="2145706678"/>
            <ac:picMk id="1030" creationId="{F5E89104-C829-8586-3C9C-24F189EF4249}"/>
          </ac:picMkLst>
        </pc:picChg>
      </pc:sldChg>
      <pc:sldChg chg="addSp modSp add mod ord modAnim">
        <pc:chgData name="Westhoff, Amir" userId="8d048e8d-3042-4117-b8b6-5f176bda5671" providerId="ADAL" clId="{5AF1FC53-AFEF-4854-BDA8-B51B0122CBF2}" dt="2024-09-18T21:33:44.017" v="8477"/>
        <pc:sldMkLst>
          <pc:docMk/>
          <pc:sldMk cId="579632008" sldId="2145706679"/>
        </pc:sldMkLst>
        <pc:spChg chg="mod">
          <ac:chgData name="Westhoff, Amir" userId="8d048e8d-3042-4117-b8b6-5f176bda5671" providerId="ADAL" clId="{5AF1FC53-AFEF-4854-BDA8-B51B0122CBF2}" dt="2024-09-16T21:04:09.564" v="1011" actId="20577"/>
          <ac:spMkLst>
            <pc:docMk/>
            <pc:sldMk cId="579632008" sldId="2145706679"/>
            <ac:spMk id="2" creationId="{31A90110-B121-C3AD-4E6D-B4131F3B595E}"/>
          </ac:spMkLst>
        </pc:spChg>
        <pc:spChg chg="mod">
          <ac:chgData name="Westhoff, Amir" userId="8d048e8d-3042-4117-b8b6-5f176bda5671" providerId="ADAL" clId="{5AF1FC53-AFEF-4854-BDA8-B51B0122CBF2}" dt="2024-09-17T22:09:16.351" v="3559" actId="20577"/>
          <ac:spMkLst>
            <pc:docMk/>
            <pc:sldMk cId="579632008" sldId="2145706679"/>
            <ac:spMk id="3" creationId="{70440F56-B14B-014F-B750-5E1D7B85286E}"/>
          </ac:spMkLst>
        </pc:spChg>
        <pc:spChg chg="mod">
          <ac:chgData name="Westhoff, Amir" userId="8d048e8d-3042-4117-b8b6-5f176bda5671" providerId="ADAL" clId="{5AF1FC53-AFEF-4854-BDA8-B51B0122CBF2}" dt="2024-09-18T19:25:54.783" v="6732" actId="20577"/>
          <ac:spMkLst>
            <pc:docMk/>
            <pc:sldMk cId="579632008" sldId="2145706679"/>
            <ac:spMk id="4" creationId="{8EA8629F-B321-D125-378B-2918F93A2254}"/>
          </ac:spMkLst>
        </pc:spChg>
        <pc:picChg chg="add mod">
          <ac:chgData name="Westhoff, Amir" userId="8d048e8d-3042-4117-b8b6-5f176bda5671" providerId="ADAL" clId="{5AF1FC53-AFEF-4854-BDA8-B51B0122CBF2}" dt="2024-09-16T21:13:40.497" v="1247" actId="1076"/>
          <ac:picMkLst>
            <pc:docMk/>
            <pc:sldMk cId="579632008" sldId="2145706679"/>
            <ac:picMk id="6" creationId="{E05D114E-3F1B-D37C-856E-D58679D63AAF}"/>
          </ac:picMkLst>
        </pc:picChg>
      </pc:sldChg>
      <pc:sldChg chg="addSp modSp new mod ord modAnim">
        <pc:chgData name="Westhoff, Amir" userId="8d048e8d-3042-4117-b8b6-5f176bda5671" providerId="ADAL" clId="{5AF1FC53-AFEF-4854-BDA8-B51B0122CBF2}" dt="2024-09-18T21:31:47.117" v="8454"/>
        <pc:sldMkLst>
          <pc:docMk/>
          <pc:sldMk cId="318396312" sldId="2145706680"/>
        </pc:sldMkLst>
        <pc:spChg chg="mod">
          <ac:chgData name="Westhoff, Amir" userId="8d048e8d-3042-4117-b8b6-5f176bda5671" providerId="ADAL" clId="{5AF1FC53-AFEF-4854-BDA8-B51B0122CBF2}" dt="2024-09-16T22:04:05.303" v="2777" actId="20577"/>
          <ac:spMkLst>
            <pc:docMk/>
            <pc:sldMk cId="318396312" sldId="2145706680"/>
            <ac:spMk id="2" creationId="{EA289F94-E2AF-5949-E93F-4C3694E088FC}"/>
          </ac:spMkLst>
        </pc:spChg>
        <pc:spChg chg="mod">
          <ac:chgData name="Westhoff, Amir" userId="8d048e8d-3042-4117-b8b6-5f176bda5671" providerId="ADAL" clId="{5AF1FC53-AFEF-4854-BDA8-B51B0122CBF2}" dt="2024-09-18T18:34:34.434" v="5598" actId="21"/>
          <ac:spMkLst>
            <pc:docMk/>
            <pc:sldMk cId="318396312" sldId="2145706680"/>
            <ac:spMk id="3" creationId="{AE070DA5-5967-449E-683C-DC9C77F9218E}"/>
          </ac:spMkLst>
        </pc:spChg>
        <pc:spChg chg="mod">
          <ac:chgData name="Westhoff, Amir" userId="8d048e8d-3042-4117-b8b6-5f176bda5671" providerId="ADAL" clId="{5AF1FC53-AFEF-4854-BDA8-B51B0122CBF2}" dt="2024-09-16T21:03:13.661" v="997" actId="20577"/>
          <ac:spMkLst>
            <pc:docMk/>
            <pc:sldMk cId="318396312" sldId="2145706680"/>
            <ac:spMk id="4" creationId="{9F307C12-5F01-66F0-2DA4-3989356EF512}"/>
          </ac:spMkLst>
        </pc:spChg>
        <pc:picChg chg="add mod">
          <ac:chgData name="Westhoff, Amir" userId="8d048e8d-3042-4117-b8b6-5f176bda5671" providerId="ADAL" clId="{5AF1FC53-AFEF-4854-BDA8-B51B0122CBF2}" dt="2024-09-17T21:58:30.250" v="3090" actId="1076"/>
          <ac:picMkLst>
            <pc:docMk/>
            <pc:sldMk cId="318396312" sldId="2145706680"/>
            <ac:picMk id="6" creationId="{C63A8D9B-0FDE-383A-4280-ACA149D250E7}"/>
          </ac:picMkLst>
        </pc:picChg>
      </pc:sldChg>
      <pc:sldChg chg="addSp modSp add mod modAnim">
        <pc:chgData name="Westhoff, Amir" userId="8d048e8d-3042-4117-b8b6-5f176bda5671" providerId="ADAL" clId="{5AF1FC53-AFEF-4854-BDA8-B51B0122CBF2}" dt="2024-09-18T21:33:04.142" v="8469"/>
        <pc:sldMkLst>
          <pc:docMk/>
          <pc:sldMk cId="2858977313" sldId="2145706681"/>
        </pc:sldMkLst>
        <pc:spChg chg="mod">
          <ac:chgData name="Westhoff, Amir" userId="8d048e8d-3042-4117-b8b6-5f176bda5671" providerId="ADAL" clId="{5AF1FC53-AFEF-4854-BDA8-B51B0122CBF2}" dt="2024-09-16T22:04:15.061" v="2781" actId="20577"/>
          <ac:spMkLst>
            <pc:docMk/>
            <pc:sldMk cId="2858977313" sldId="2145706681"/>
            <ac:spMk id="2" creationId="{EA289F94-E2AF-5949-E93F-4C3694E088FC}"/>
          </ac:spMkLst>
        </pc:spChg>
        <pc:spChg chg="mod">
          <ac:chgData name="Westhoff, Amir" userId="8d048e8d-3042-4117-b8b6-5f176bda5671" providerId="ADAL" clId="{5AF1FC53-AFEF-4854-BDA8-B51B0122CBF2}" dt="2024-09-17T20:46:36.211" v="2802" actId="14100"/>
          <ac:spMkLst>
            <pc:docMk/>
            <pc:sldMk cId="2858977313" sldId="2145706681"/>
            <ac:spMk id="3" creationId="{AE070DA5-5967-449E-683C-DC9C77F9218E}"/>
          </ac:spMkLst>
        </pc:spChg>
        <pc:spChg chg="mod">
          <ac:chgData name="Westhoff, Amir" userId="8d048e8d-3042-4117-b8b6-5f176bda5671" providerId="ADAL" clId="{5AF1FC53-AFEF-4854-BDA8-B51B0122CBF2}" dt="2024-09-16T21:03:18.293" v="1003" actId="20577"/>
          <ac:spMkLst>
            <pc:docMk/>
            <pc:sldMk cId="2858977313" sldId="2145706681"/>
            <ac:spMk id="4" creationId="{9F307C12-5F01-66F0-2DA4-3989356EF512}"/>
          </ac:spMkLst>
        </pc:spChg>
        <pc:picChg chg="add mod">
          <ac:chgData name="Westhoff, Amir" userId="8d048e8d-3042-4117-b8b6-5f176bda5671" providerId="ADAL" clId="{5AF1FC53-AFEF-4854-BDA8-B51B0122CBF2}" dt="2024-09-17T21:58:23.925" v="3089" actId="1076"/>
          <ac:picMkLst>
            <pc:docMk/>
            <pc:sldMk cId="2858977313" sldId="2145706681"/>
            <ac:picMk id="6" creationId="{22E987EA-CFB6-8ECE-EA2D-909D8A01AE5F}"/>
          </ac:picMkLst>
        </pc:picChg>
      </pc:sldChg>
      <pc:sldChg chg="addSp modSp add mod modAnim">
        <pc:chgData name="Westhoff, Amir" userId="8d048e8d-3042-4117-b8b6-5f176bda5671" providerId="ADAL" clId="{5AF1FC53-AFEF-4854-BDA8-B51B0122CBF2}" dt="2024-09-18T21:34:38.832" v="8488"/>
        <pc:sldMkLst>
          <pc:docMk/>
          <pc:sldMk cId="161077872" sldId="2145706682"/>
        </pc:sldMkLst>
        <pc:spChg chg="mod">
          <ac:chgData name="Westhoff, Amir" userId="8d048e8d-3042-4117-b8b6-5f176bda5671" providerId="ADAL" clId="{5AF1FC53-AFEF-4854-BDA8-B51B0122CBF2}" dt="2024-09-17T22:33:49.790" v="4103" actId="20577"/>
          <ac:spMkLst>
            <pc:docMk/>
            <pc:sldMk cId="161077872" sldId="2145706682"/>
            <ac:spMk id="3" creationId="{70440F56-B14B-014F-B750-5E1D7B85286E}"/>
          </ac:spMkLst>
        </pc:spChg>
        <pc:spChg chg="mod">
          <ac:chgData name="Westhoff, Amir" userId="8d048e8d-3042-4117-b8b6-5f176bda5671" providerId="ADAL" clId="{5AF1FC53-AFEF-4854-BDA8-B51B0122CBF2}" dt="2024-09-17T22:31:50.232" v="4035" actId="20577"/>
          <ac:spMkLst>
            <pc:docMk/>
            <pc:sldMk cId="161077872" sldId="2145706682"/>
            <ac:spMk id="4" creationId="{8EA8629F-B321-D125-378B-2918F93A2254}"/>
          </ac:spMkLst>
        </pc:spChg>
        <pc:picChg chg="add mod">
          <ac:chgData name="Westhoff, Amir" userId="8d048e8d-3042-4117-b8b6-5f176bda5671" providerId="ADAL" clId="{5AF1FC53-AFEF-4854-BDA8-B51B0122CBF2}" dt="2024-09-17T22:33:32.546" v="4041" actId="1076"/>
          <ac:picMkLst>
            <pc:docMk/>
            <pc:sldMk cId="161077872" sldId="2145706682"/>
            <ac:picMk id="6" creationId="{6F204911-DFCE-34D5-E8D4-DCCF11955F44}"/>
          </ac:picMkLst>
        </pc:picChg>
        <pc:picChg chg="add mod">
          <ac:chgData name="Westhoff, Amir" userId="8d048e8d-3042-4117-b8b6-5f176bda5671" providerId="ADAL" clId="{5AF1FC53-AFEF-4854-BDA8-B51B0122CBF2}" dt="2024-09-17T22:33:31.223" v="4040" actId="1076"/>
          <ac:picMkLst>
            <pc:docMk/>
            <pc:sldMk cId="161077872" sldId="2145706682"/>
            <ac:picMk id="8" creationId="{F8C3482A-2120-C9C0-CCF2-50F6D7F203C7}"/>
          </ac:picMkLst>
        </pc:picChg>
      </pc:sldChg>
      <pc:sldChg chg="addSp modSp add mod modAnim">
        <pc:chgData name="Westhoff, Amir" userId="8d048e8d-3042-4117-b8b6-5f176bda5671" providerId="ADAL" clId="{5AF1FC53-AFEF-4854-BDA8-B51B0122CBF2}" dt="2024-09-18T21:34:03.847" v="8482"/>
        <pc:sldMkLst>
          <pc:docMk/>
          <pc:sldMk cId="1221782129" sldId="2145706683"/>
        </pc:sldMkLst>
        <pc:spChg chg="mod">
          <ac:chgData name="Westhoff, Amir" userId="8d048e8d-3042-4117-b8b6-5f176bda5671" providerId="ADAL" clId="{5AF1FC53-AFEF-4854-BDA8-B51B0122CBF2}" dt="2024-09-16T21:48:52.595" v="2519" actId="20577"/>
          <ac:spMkLst>
            <pc:docMk/>
            <pc:sldMk cId="1221782129" sldId="2145706683"/>
            <ac:spMk id="2" creationId="{31A90110-B121-C3AD-4E6D-B4131F3B595E}"/>
          </ac:spMkLst>
        </pc:spChg>
        <pc:spChg chg="mod">
          <ac:chgData name="Westhoff, Amir" userId="8d048e8d-3042-4117-b8b6-5f176bda5671" providerId="ADAL" clId="{5AF1FC53-AFEF-4854-BDA8-B51B0122CBF2}" dt="2024-09-18T19:27:02.467" v="6770" actId="20577"/>
          <ac:spMkLst>
            <pc:docMk/>
            <pc:sldMk cId="1221782129" sldId="2145706683"/>
            <ac:spMk id="3" creationId="{70440F56-B14B-014F-B750-5E1D7B85286E}"/>
          </ac:spMkLst>
        </pc:spChg>
        <pc:spChg chg="mod">
          <ac:chgData name="Westhoff, Amir" userId="8d048e8d-3042-4117-b8b6-5f176bda5671" providerId="ADAL" clId="{5AF1FC53-AFEF-4854-BDA8-B51B0122CBF2}" dt="2024-09-16T21:06:27.531" v="1079" actId="20577"/>
          <ac:spMkLst>
            <pc:docMk/>
            <pc:sldMk cId="1221782129" sldId="2145706683"/>
            <ac:spMk id="4" creationId="{8EA8629F-B321-D125-378B-2918F93A2254}"/>
          </ac:spMkLst>
        </pc:spChg>
        <pc:picChg chg="add mod">
          <ac:chgData name="Westhoff, Amir" userId="8d048e8d-3042-4117-b8b6-5f176bda5671" providerId="ADAL" clId="{5AF1FC53-AFEF-4854-BDA8-B51B0122CBF2}" dt="2024-09-17T22:05:07.733" v="3189" actId="1076"/>
          <ac:picMkLst>
            <pc:docMk/>
            <pc:sldMk cId="1221782129" sldId="2145706683"/>
            <ac:picMk id="6" creationId="{9A3DA8D4-D2E7-DF06-4D21-5D85BC95BC56}"/>
          </ac:picMkLst>
        </pc:picChg>
        <pc:picChg chg="add mod">
          <ac:chgData name="Westhoff, Amir" userId="8d048e8d-3042-4117-b8b6-5f176bda5671" providerId="ADAL" clId="{5AF1FC53-AFEF-4854-BDA8-B51B0122CBF2}" dt="2024-09-17T22:05:10.039" v="3190" actId="1076"/>
          <ac:picMkLst>
            <pc:docMk/>
            <pc:sldMk cId="1221782129" sldId="2145706683"/>
            <ac:picMk id="8" creationId="{2BA42439-2EF2-5EE5-0CFA-B71F2B60011C}"/>
          </ac:picMkLst>
        </pc:picChg>
        <pc:picChg chg="add mod">
          <ac:chgData name="Westhoff, Amir" userId="8d048e8d-3042-4117-b8b6-5f176bda5671" providerId="ADAL" clId="{5AF1FC53-AFEF-4854-BDA8-B51B0122CBF2}" dt="2024-09-17T22:05:16.367" v="3194" actId="1076"/>
          <ac:picMkLst>
            <pc:docMk/>
            <pc:sldMk cId="1221782129" sldId="2145706683"/>
            <ac:picMk id="10" creationId="{134637D7-FCD4-B9FC-95B9-5AD3DA1468F1}"/>
          </ac:picMkLst>
        </pc:picChg>
      </pc:sldChg>
      <pc:sldChg chg="modSp new mod">
        <pc:chgData name="Westhoff, Amir" userId="8d048e8d-3042-4117-b8b6-5f176bda5671" providerId="ADAL" clId="{5AF1FC53-AFEF-4854-BDA8-B51B0122CBF2}" dt="2024-09-16T21:14:55.078" v="1315" actId="20577"/>
        <pc:sldMkLst>
          <pc:docMk/>
          <pc:sldMk cId="1545000936" sldId="2145706684"/>
        </pc:sldMkLst>
        <pc:spChg chg="mod">
          <ac:chgData name="Westhoff, Amir" userId="8d048e8d-3042-4117-b8b6-5f176bda5671" providerId="ADAL" clId="{5AF1FC53-AFEF-4854-BDA8-B51B0122CBF2}" dt="2024-09-16T21:14:55.078" v="1315" actId="20577"/>
          <ac:spMkLst>
            <pc:docMk/>
            <pc:sldMk cId="1545000936" sldId="2145706684"/>
            <ac:spMk id="4" creationId="{E7AD3BA9-5517-28AB-18F7-60D057D0681E}"/>
          </ac:spMkLst>
        </pc:spChg>
      </pc:sldChg>
      <pc:sldChg chg="modSp add mod">
        <pc:chgData name="Westhoff, Amir" userId="8d048e8d-3042-4117-b8b6-5f176bda5671" providerId="ADAL" clId="{5AF1FC53-AFEF-4854-BDA8-B51B0122CBF2}" dt="2024-09-17T23:10:35.977" v="4369" actId="20577"/>
        <pc:sldMkLst>
          <pc:docMk/>
          <pc:sldMk cId="3350876104" sldId="2145706685"/>
        </pc:sldMkLst>
        <pc:spChg chg="mod">
          <ac:chgData name="Westhoff, Amir" userId="8d048e8d-3042-4117-b8b6-5f176bda5671" providerId="ADAL" clId="{5AF1FC53-AFEF-4854-BDA8-B51B0122CBF2}" dt="2024-09-17T23:10:35.977" v="4369" actId="20577"/>
          <ac:spMkLst>
            <pc:docMk/>
            <pc:sldMk cId="3350876104" sldId="2145706685"/>
            <ac:spMk id="3" creationId="{70440F56-B14B-014F-B750-5E1D7B85286E}"/>
          </ac:spMkLst>
        </pc:spChg>
      </pc:sldChg>
      <pc:sldChg chg="addSp modSp add mod ord modAnim">
        <pc:chgData name="Westhoff, Amir" userId="8d048e8d-3042-4117-b8b6-5f176bda5671" providerId="ADAL" clId="{5AF1FC53-AFEF-4854-BDA8-B51B0122CBF2}" dt="2024-09-18T21:35:16.411" v="8494"/>
        <pc:sldMkLst>
          <pc:docMk/>
          <pc:sldMk cId="477817796" sldId="2145706686"/>
        </pc:sldMkLst>
        <pc:spChg chg="mod">
          <ac:chgData name="Westhoff, Amir" userId="8d048e8d-3042-4117-b8b6-5f176bda5671" providerId="ADAL" clId="{5AF1FC53-AFEF-4854-BDA8-B51B0122CBF2}" dt="2024-09-18T21:26:28.226" v="8413" actId="14100"/>
          <ac:spMkLst>
            <pc:docMk/>
            <pc:sldMk cId="477817796" sldId="2145706686"/>
            <ac:spMk id="3" creationId="{70440F56-B14B-014F-B750-5E1D7B85286E}"/>
          </ac:spMkLst>
        </pc:spChg>
        <pc:spChg chg="mod">
          <ac:chgData name="Westhoff, Amir" userId="8d048e8d-3042-4117-b8b6-5f176bda5671" providerId="ADAL" clId="{5AF1FC53-AFEF-4854-BDA8-B51B0122CBF2}" dt="2024-09-18T21:26:36.920" v="8424" actId="20577"/>
          <ac:spMkLst>
            <pc:docMk/>
            <pc:sldMk cId="477817796" sldId="2145706686"/>
            <ac:spMk id="4" creationId="{8EA8629F-B321-D125-378B-2918F93A2254}"/>
          </ac:spMkLst>
        </pc:spChg>
        <pc:picChg chg="add mod">
          <ac:chgData name="Westhoff, Amir" userId="8d048e8d-3042-4117-b8b6-5f176bda5671" providerId="ADAL" clId="{5AF1FC53-AFEF-4854-BDA8-B51B0122CBF2}" dt="2024-09-18T21:26:34.116" v="8417" actId="1076"/>
          <ac:picMkLst>
            <pc:docMk/>
            <pc:sldMk cId="477817796" sldId="2145706686"/>
            <ac:picMk id="6" creationId="{E308682A-1E36-1BD2-3947-22ADFB1C6F9F}"/>
          </ac:picMkLst>
        </pc:picChg>
      </pc:sldChg>
      <pc:sldChg chg="addSp modSp new mod modAnim">
        <pc:chgData name="Westhoff, Amir" userId="8d048e8d-3042-4117-b8b6-5f176bda5671" providerId="ADAL" clId="{5AF1FC53-AFEF-4854-BDA8-B51B0122CBF2}" dt="2024-09-18T21:32:10.345" v="8459"/>
        <pc:sldMkLst>
          <pc:docMk/>
          <pc:sldMk cId="1417124271" sldId="2145706687"/>
        </pc:sldMkLst>
        <pc:spChg chg="mod">
          <ac:chgData name="Westhoff, Amir" userId="8d048e8d-3042-4117-b8b6-5f176bda5671" providerId="ADAL" clId="{5AF1FC53-AFEF-4854-BDA8-B51B0122CBF2}" dt="2024-09-17T22:08:36.573" v="3470" actId="20577"/>
          <ac:spMkLst>
            <pc:docMk/>
            <pc:sldMk cId="1417124271" sldId="2145706687"/>
            <ac:spMk id="2" creationId="{4357B6D9-EE0F-9C95-7487-D705FAA9F6F9}"/>
          </ac:spMkLst>
        </pc:spChg>
        <pc:spChg chg="mod">
          <ac:chgData name="Westhoff, Amir" userId="8d048e8d-3042-4117-b8b6-5f176bda5671" providerId="ADAL" clId="{5AF1FC53-AFEF-4854-BDA8-B51B0122CBF2}" dt="2024-09-18T20:44:44.703" v="7664" actId="20577"/>
          <ac:spMkLst>
            <pc:docMk/>
            <pc:sldMk cId="1417124271" sldId="2145706687"/>
            <ac:spMk id="3" creationId="{60CE47EF-1919-AEB6-7CC5-5A5CB55A769E}"/>
          </ac:spMkLst>
        </pc:spChg>
        <pc:spChg chg="mod">
          <ac:chgData name="Westhoff, Amir" userId="8d048e8d-3042-4117-b8b6-5f176bda5671" providerId="ADAL" clId="{5AF1FC53-AFEF-4854-BDA8-B51B0122CBF2}" dt="2024-09-17T20:48:57.995" v="2819" actId="20577"/>
          <ac:spMkLst>
            <pc:docMk/>
            <pc:sldMk cId="1417124271" sldId="2145706687"/>
            <ac:spMk id="4" creationId="{68831EE3-787D-562E-6C36-8F47A77FF1CB}"/>
          </ac:spMkLst>
        </pc:spChg>
        <pc:picChg chg="add mod">
          <ac:chgData name="Westhoff, Amir" userId="8d048e8d-3042-4117-b8b6-5f176bda5671" providerId="ADAL" clId="{5AF1FC53-AFEF-4854-BDA8-B51B0122CBF2}" dt="2024-09-18T18:23:45.766" v="5367" actId="1076"/>
          <ac:picMkLst>
            <pc:docMk/>
            <pc:sldMk cId="1417124271" sldId="2145706687"/>
            <ac:picMk id="2050" creationId="{3A1FC9DF-337F-0D6F-2CC7-B77B66C9897B}"/>
          </ac:picMkLst>
        </pc:picChg>
      </pc:sldChg>
      <pc:sldChg chg="addSp delSp modSp add mod modAnim">
        <pc:chgData name="Westhoff, Amir" userId="8d048e8d-3042-4117-b8b6-5f176bda5671" providerId="ADAL" clId="{5AF1FC53-AFEF-4854-BDA8-B51B0122CBF2}" dt="2024-09-18T21:32:51.918" v="8467"/>
        <pc:sldMkLst>
          <pc:docMk/>
          <pc:sldMk cId="3427135364" sldId="2145706688"/>
        </pc:sldMkLst>
        <pc:spChg chg="mod">
          <ac:chgData name="Westhoff, Amir" userId="8d048e8d-3042-4117-b8b6-5f176bda5671" providerId="ADAL" clId="{5AF1FC53-AFEF-4854-BDA8-B51B0122CBF2}" dt="2024-09-17T20:49:30.224" v="2907" actId="20577"/>
          <ac:spMkLst>
            <pc:docMk/>
            <pc:sldMk cId="3427135364" sldId="2145706688"/>
            <ac:spMk id="2" creationId="{4357B6D9-EE0F-9C95-7487-D705FAA9F6F9}"/>
          </ac:spMkLst>
        </pc:spChg>
        <pc:spChg chg="mod">
          <ac:chgData name="Westhoff, Amir" userId="8d048e8d-3042-4117-b8b6-5f176bda5671" providerId="ADAL" clId="{5AF1FC53-AFEF-4854-BDA8-B51B0122CBF2}" dt="2024-09-18T18:56:22.117" v="6287" actId="20577"/>
          <ac:spMkLst>
            <pc:docMk/>
            <pc:sldMk cId="3427135364" sldId="2145706688"/>
            <ac:spMk id="3" creationId="{60CE47EF-1919-AEB6-7CC5-5A5CB55A769E}"/>
          </ac:spMkLst>
        </pc:spChg>
        <pc:picChg chg="add del mod">
          <ac:chgData name="Westhoff, Amir" userId="8d048e8d-3042-4117-b8b6-5f176bda5671" providerId="ADAL" clId="{5AF1FC53-AFEF-4854-BDA8-B51B0122CBF2}" dt="2024-09-18T18:49:46.268" v="5694" actId="478"/>
          <ac:picMkLst>
            <pc:docMk/>
            <pc:sldMk cId="3427135364" sldId="2145706688"/>
            <ac:picMk id="6" creationId="{72C53FD1-15BD-EAEE-B7D8-EDA617080510}"/>
          </ac:picMkLst>
        </pc:picChg>
        <pc:picChg chg="add mod">
          <ac:chgData name="Westhoff, Amir" userId="8d048e8d-3042-4117-b8b6-5f176bda5671" providerId="ADAL" clId="{5AF1FC53-AFEF-4854-BDA8-B51B0122CBF2}" dt="2024-09-18T18:56:52.160" v="6288" actId="1076"/>
          <ac:picMkLst>
            <pc:docMk/>
            <pc:sldMk cId="3427135364" sldId="2145706688"/>
            <ac:picMk id="8" creationId="{83008DA8-F291-D29E-98B6-702B66ECFDAC}"/>
          </ac:picMkLst>
        </pc:picChg>
      </pc:sldChg>
      <pc:sldChg chg="addSp delSp modSp add mod modAnim">
        <pc:chgData name="Westhoff, Amir" userId="8d048e8d-3042-4117-b8b6-5f176bda5671" providerId="ADAL" clId="{5AF1FC53-AFEF-4854-BDA8-B51B0122CBF2}" dt="2024-09-18T21:33:29.342" v="8475"/>
        <pc:sldMkLst>
          <pc:docMk/>
          <pc:sldMk cId="1827488270" sldId="2145706689"/>
        </pc:sldMkLst>
        <pc:spChg chg="mod">
          <ac:chgData name="Westhoff, Amir" userId="8d048e8d-3042-4117-b8b6-5f176bda5671" providerId="ADAL" clId="{5AF1FC53-AFEF-4854-BDA8-B51B0122CBF2}" dt="2024-09-17T22:00:46.816" v="3174" actId="20577"/>
          <ac:spMkLst>
            <pc:docMk/>
            <pc:sldMk cId="1827488270" sldId="2145706689"/>
            <ac:spMk id="2" creationId="{EA289F94-E2AF-5949-E93F-4C3694E088FC}"/>
          </ac:spMkLst>
        </pc:spChg>
        <pc:spChg chg="mod">
          <ac:chgData name="Westhoff, Amir" userId="8d048e8d-3042-4117-b8b6-5f176bda5671" providerId="ADAL" clId="{5AF1FC53-AFEF-4854-BDA8-B51B0122CBF2}" dt="2024-09-18T19:09:26.752" v="6614" actId="20577"/>
          <ac:spMkLst>
            <pc:docMk/>
            <pc:sldMk cId="1827488270" sldId="2145706689"/>
            <ac:spMk id="3" creationId="{AE070DA5-5967-449E-683C-DC9C77F9218E}"/>
          </ac:spMkLst>
        </pc:spChg>
        <pc:picChg chg="del">
          <ac:chgData name="Westhoff, Amir" userId="8d048e8d-3042-4117-b8b6-5f176bda5671" providerId="ADAL" clId="{5AF1FC53-AFEF-4854-BDA8-B51B0122CBF2}" dt="2024-09-17T21:58:20.970" v="3088" actId="478"/>
          <ac:picMkLst>
            <pc:docMk/>
            <pc:sldMk cId="1827488270" sldId="2145706689"/>
            <ac:picMk id="6" creationId="{22E987EA-CFB6-8ECE-EA2D-909D8A01AE5F}"/>
          </ac:picMkLst>
        </pc:picChg>
        <pc:picChg chg="add del mod">
          <ac:chgData name="Westhoff, Amir" userId="8d048e8d-3042-4117-b8b6-5f176bda5671" providerId="ADAL" clId="{5AF1FC53-AFEF-4854-BDA8-B51B0122CBF2}" dt="2024-09-17T21:59:28.314" v="3149" actId="478"/>
          <ac:picMkLst>
            <pc:docMk/>
            <pc:sldMk cId="1827488270" sldId="2145706689"/>
            <ac:picMk id="7" creationId="{C88CFBDC-F238-548D-0856-09EF7CA460AF}"/>
          </ac:picMkLst>
        </pc:picChg>
        <pc:picChg chg="add mod ord">
          <ac:chgData name="Westhoff, Amir" userId="8d048e8d-3042-4117-b8b6-5f176bda5671" providerId="ADAL" clId="{5AF1FC53-AFEF-4854-BDA8-B51B0122CBF2}" dt="2024-09-17T22:00:00.104" v="3162" actId="1076"/>
          <ac:picMkLst>
            <pc:docMk/>
            <pc:sldMk cId="1827488270" sldId="2145706689"/>
            <ac:picMk id="9" creationId="{14B94B26-976B-4C39-0721-D0776C3A7F32}"/>
          </ac:picMkLst>
        </pc:picChg>
        <pc:picChg chg="add mod">
          <ac:chgData name="Westhoff, Amir" userId="8d048e8d-3042-4117-b8b6-5f176bda5671" providerId="ADAL" clId="{5AF1FC53-AFEF-4854-BDA8-B51B0122CBF2}" dt="2024-09-17T21:59:58.039" v="3161" actId="1076"/>
          <ac:picMkLst>
            <pc:docMk/>
            <pc:sldMk cId="1827488270" sldId="2145706689"/>
            <ac:picMk id="11" creationId="{0A0C30F4-5B96-4CD4-DEFE-464309E76C68}"/>
          </ac:picMkLst>
        </pc:picChg>
        <pc:picChg chg="add mod">
          <ac:chgData name="Westhoff, Amir" userId="8d048e8d-3042-4117-b8b6-5f176bda5671" providerId="ADAL" clId="{5AF1FC53-AFEF-4854-BDA8-B51B0122CBF2}" dt="2024-09-17T22:00:33.192" v="3168" actId="1076"/>
          <ac:picMkLst>
            <pc:docMk/>
            <pc:sldMk cId="1827488270" sldId="2145706689"/>
            <ac:picMk id="13" creationId="{AB8282D4-0B92-518F-D2EE-E5568CDB9A35}"/>
          </ac:picMkLst>
        </pc:picChg>
      </pc:sldChg>
      <pc:sldChg chg="addSp modSp add mod modAnim">
        <pc:chgData name="Westhoff, Amir" userId="8d048e8d-3042-4117-b8b6-5f176bda5671" providerId="ADAL" clId="{5AF1FC53-AFEF-4854-BDA8-B51B0122CBF2}" dt="2024-09-18T21:32:33.504" v="8463"/>
        <pc:sldMkLst>
          <pc:docMk/>
          <pc:sldMk cId="1804352031" sldId="2145706690"/>
        </pc:sldMkLst>
        <pc:spChg chg="mod">
          <ac:chgData name="Westhoff, Amir" userId="8d048e8d-3042-4117-b8b6-5f176bda5671" providerId="ADAL" clId="{5AF1FC53-AFEF-4854-BDA8-B51B0122CBF2}" dt="2024-09-18T18:33:24.516" v="5513" actId="20577"/>
          <ac:spMkLst>
            <pc:docMk/>
            <pc:sldMk cId="1804352031" sldId="2145706690"/>
            <ac:spMk id="2" creationId="{4357B6D9-EE0F-9C95-7487-D705FAA9F6F9}"/>
          </ac:spMkLst>
        </pc:spChg>
        <pc:spChg chg="mod">
          <ac:chgData name="Westhoff, Amir" userId="8d048e8d-3042-4117-b8b6-5f176bda5671" providerId="ADAL" clId="{5AF1FC53-AFEF-4854-BDA8-B51B0122CBF2}" dt="2024-09-18T20:45:09.916" v="7757" actId="20577"/>
          <ac:spMkLst>
            <pc:docMk/>
            <pc:sldMk cId="1804352031" sldId="2145706690"/>
            <ac:spMk id="3" creationId="{60CE47EF-1919-AEB6-7CC5-5A5CB55A769E}"/>
          </ac:spMkLst>
        </pc:spChg>
        <pc:picChg chg="add mod">
          <ac:chgData name="Westhoff, Amir" userId="8d048e8d-3042-4117-b8b6-5f176bda5671" providerId="ADAL" clId="{5AF1FC53-AFEF-4854-BDA8-B51B0122CBF2}" dt="2024-09-18T18:54:26.373" v="6142"/>
          <ac:picMkLst>
            <pc:docMk/>
            <pc:sldMk cId="1804352031" sldId="2145706690"/>
            <ac:picMk id="6" creationId="{C6B9DBB0-078A-1FF0-21E3-0807256D0474}"/>
          </ac:picMkLst>
        </pc:picChg>
        <pc:picChg chg="add mod">
          <ac:chgData name="Westhoff, Amir" userId="8d048e8d-3042-4117-b8b6-5f176bda5671" providerId="ADAL" clId="{5AF1FC53-AFEF-4854-BDA8-B51B0122CBF2}" dt="2024-09-18T18:54:00.209" v="6140"/>
          <ac:picMkLst>
            <pc:docMk/>
            <pc:sldMk cId="1804352031" sldId="2145706690"/>
            <ac:picMk id="8" creationId="{4783A3E7-4120-4ABF-88EC-AAB411C9A61F}"/>
          </ac:picMkLst>
        </pc:picChg>
        <pc:picChg chg="add mod">
          <ac:chgData name="Westhoff, Amir" userId="8d048e8d-3042-4117-b8b6-5f176bda5671" providerId="ADAL" clId="{5AF1FC53-AFEF-4854-BDA8-B51B0122CBF2}" dt="2024-09-18T18:54:10.660" v="6141"/>
          <ac:picMkLst>
            <pc:docMk/>
            <pc:sldMk cId="1804352031" sldId="2145706690"/>
            <ac:picMk id="10" creationId="{F217FAA3-63F3-CBAC-DE1E-955ABE8800F7}"/>
          </ac:picMkLst>
        </pc:picChg>
      </pc:sldChg>
      <pc:sldChg chg="addSp delSp modSp add mod modAnim">
        <pc:chgData name="Westhoff, Amir" userId="8d048e8d-3042-4117-b8b6-5f176bda5671" providerId="ADAL" clId="{5AF1FC53-AFEF-4854-BDA8-B51B0122CBF2}" dt="2024-09-18T21:34:45.990" v="8490"/>
        <pc:sldMkLst>
          <pc:docMk/>
          <pc:sldMk cId="519762086" sldId="2145706691"/>
        </pc:sldMkLst>
        <pc:spChg chg="mod">
          <ac:chgData name="Westhoff, Amir" userId="8d048e8d-3042-4117-b8b6-5f176bda5671" providerId="ADAL" clId="{5AF1FC53-AFEF-4854-BDA8-B51B0122CBF2}" dt="2024-09-17T22:54:16.360" v="4274" actId="20577"/>
          <ac:spMkLst>
            <pc:docMk/>
            <pc:sldMk cId="519762086" sldId="2145706691"/>
            <ac:spMk id="3" creationId="{70440F56-B14B-014F-B750-5E1D7B85286E}"/>
          </ac:spMkLst>
        </pc:spChg>
        <pc:spChg chg="mod">
          <ac:chgData name="Westhoff, Amir" userId="8d048e8d-3042-4117-b8b6-5f176bda5671" providerId="ADAL" clId="{5AF1FC53-AFEF-4854-BDA8-B51B0122CBF2}" dt="2024-09-17T22:34:19.542" v="4160" actId="20577"/>
          <ac:spMkLst>
            <pc:docMk/>
            <pc:sldMk cId="519762086" sldId="2145706691"/>
            <ac:spMk id="4" creationId="{8EA8629F-B321-D125-378B-2918F93A2254}"/>
          </ac:spMkLst>
        </pc:spChg>
        <pc:picChg chg="del">
          <ac:chgData name="Westhoff, Amir" userId="8d048e8d-3042-4117-b8b6-5f176bda5671" providerId="ADAL" clId="{5AF1FC53-AFEF-4854-BDA8-B51B0122CBF2}" dt="2024-09-17T22:34:07.238" v="4117" actId="478"/>
          <ac:picMkLst>
            <pc:docMk/>
            <pc:sldMk cId="519762086" sldId="2145706691"/>
            <ac:picMk id="6" creationId="{6F204911-DFCE-34D5-E8D4-DCCF11955F44}"/>
          </ac:picMkLst>
        </pc:picChg>
        <pc:picChg chg="add mod">
          <ac:chgData name="Westhoff, Amir" userId="8d048e8d-3042-4117-b8b6-5f176bda5671" providerId="ADAL" clId="{5AF1FC53-AFEF-4854-BDA8-B51B0122CBF2}" dt="2024-09-17T22:55:08.954" v="4283" actId="1076"/>
          <ac:picMkLst>
            <pc:docMk/>
            <pc:sldMk cId="519762086" sldId="2145706691"/>
            <ac:picMk id="7" creationId="{F42182D4-4485-62CB-D1B8-A3FA526FEC67}"/>
          </ac:picMkLst>
        </pc:picChg>
        <pc:picChg chg="del">
          <ac:chgData name="Westhoff, Amir" userId="8d048e8d-3042-4117-b8b6-5f176bda5671" providerId="ADAL" clId="{5AF1FC53-AFEF-4854-BDA8-B51B0122CBF2}" dt="2024-09-17T22:34:05.662" v="4116" actId="478"/>
          <ac:picMkLst>
            <pc:docMk/>
            <pc:sldMk cId="519762086" sldId="2145706691"/>
            <ac:picMk id="8" creationId="{F8C3482A-2120-C9C0-CCF2-50F6D7F203C7}"/>
          </ac:picMkLst>
        </pc:picChg>
        <pc:picChg chg="add del mod">
          <ac:chgData name="Westhoff, Amir" userId="8d048e8d-3042-4117-b8b6-5f176bda5671" providerId="ADAL" clId="{5AF1FC53-AFEF-4854-BDA8-B51B0122CBF2}" dt="2024-09-17T22:54:55.359" v="4276" actId="478"/>
          <ac:picMkLst>
            <pc:docMk/>
            <pc:sldMk cId="519762086" sldId="2145706691"/>
            <ac:picMk id="10" creationId="{3F2507B8-1355-9D22-8B67-E688CE87A2EB}"/>
          </ac:picMkLst>
        </pc:picChg>
        <pc:picChg chg="add mod">
          <ac:chgData name="Westhoff, Amir" userId="8d048e8d-3042-4117-b8b6-5f176bda5671" providerId="ADAL" clId="{5AF1FC53-AFEF-4854-BDA8-B51B0122CBF2}" dt="2024-09-17T22:55:06.158" v="4282" actId="1076"/>
          <ac:picMkLst>
            <pc:docMk/>
            <pc:sldMk cId="519762086" sldId="2145706691"/>
            <ac:picMk id="12" creationId="{9513EC18-FCCF-FF12-BFEF-4DC09D04B0B2}"/>
          </ac:picMkLst>
        </pc:picChg>
      </pc:sldChg>
      <pc:sldChg chg="modSp add mod ord">
        <pc:chgData name="Westhoff, Amir" userId="8d048e8d-3042-4117-b8b6-5f176bda5671" providerId="ADAL" clId="{5AF1FC53-AFEF-4854-BDA8-B51B0122CBF2}" dt="2024-09-18T20:46:43.966" v="7863" actId="20577"/>
        <pc:sldMkLst>
          <pc:docMk/>
          <pc:sldMk cId="482940516" sldId="2145706692"/>
        </pc:sldMkLst>
        <pc:spChg chg="mod">
          <ac:chgData name="Westhoff, Amir" userId="8d048e8d-3042-4117-b8b6-5f176bda5671" providerId="ADAL" clId="{5AF1FC53-AFEF-4854-BDA8-B51B0122CBF2}" dt="2024-09-17T23:09:35.442" v="4354" actId="20577"/>
          <ac:spMkLst>
            <pc:docMk/>
            <pc:sldMk cId="482940516" sldId="2145706692"/>
            <ac:spMk id="2" creationId="{31A90110-B121-C3AD-4E6D-B4131F3B595E}"/>
          </ac:spMkLst>
        </pc:spChg>
        <pc:spChg chg="mod">
          <ac:chgData name="Westhoff, Amir" userId="8d048e8d-3042-4117-b8b6-5f176bda5671" providerId="ADAL" clId="{5AF1FC53-AFEF-4854-BDA8-B51B0122CBF2}" dt="2024-09-18T20:46:43.966" v="7863" actId="20577"/>
          <ac:spMkLst>
            <pc:docMk/>
            <pc:sldMk cId="482940516" sldId="2145706692"/>
            <ac:spMk id="3" creationId="{70440F56-B14B-014F-B750-5E1D7B85286E}"/>
          </ac:spMkLst>
        </pc:spChg>
        <pc:spChg chg="mod">
          <ac:chgData name="Westhoff, Amir" userId="8d048e8d-3042-4117-b8b6-5f176bda5671" providerId="ADAL" clId="{5AF1FC53-AFEF-4854-BDA8-B51B0122CBF2}" dt="2024-09-17T22:56:31.460" v="4315" actId="20577"/>
          <ac:spMkLst>
            <pc:docMk/>
            <pc:sldMk cId="482940516" sldId="2145706692"/>
            <ac:spMk id="4" creationId="{8EA8629F-B321-D125-378B-2918F93A2254}"/>
          </ac:spMkLst>
        </pc:spChg>
      </pc:sldChg>
      <pc:sldChg chg="modSp new mod">
        <pc:chgData name="Westhoff, Amir" userId="8d048e8d-3042-4117-b8b6-5f176bda5671" providerId="ADAL" clId="{5AF1FC53-AFEF-4854-BDA8-B51B0122CBF2}" dt="2024-09-18T21:24:50.888" v="8337" actId="20577"/>
        <pc:sldMkLst>
          <pc:docMk/>
          <pc:sldMk cId="332585293" sldId="2145706693"/>
        </pc:sldMkLst>
        <pc:spChg chg="mod">
          <ac:chgData name="Westhoff, Amir" userId="8d048e8d-3042-4117-b8b6-5f176bda5671" providerId="ADAL" clId="{5AF1FC53-AFEF-4854-BDA8-B51B0122CBF2}" dt="2024-09-18T21:24:50.888" v="8337" actId="20577"/>
          <ac:spMkLst>
            <pc:docMk/>
            <pc:sldMk cId="332585293" sldId="2145706693"/>
            <ac:spMk id="3" creationId="{53E7838F-2121-52A0-D4FC-2F28A30CCE2B}"/>
          </ac:spMkLst>
        </pc:spChg>
        <pc:spChg chg="mod">
          <ac:chgData name="Westhoff, Amir" userId="8d048e8d-3042-4117-b8b6-5f176bda5671" providerId="ADAL" clId="{5AF1FC53-AFEF-4854-BDA8-B51B0122CBF2}" dt="2024-09-17T23:31:26.064" v="4449" actId="20577"/>
          <ac:spMkLst>
            <pc:docMk/>
            <pc:sldMk cId="332585293" sldId="2145706693"/>
            <ac:spMk id="4" creationId="{98107F0C-29B4-53BA-C9C5-6E06CD1E1D0B}"/>
          </ac:spMkLst>
        </pc:spChg>
      </pc:sldChg>
      <pc:sldChg chg="add">
        <pc:chgData name="Westhoff, Amir" userId="8d048e8d-3042-4117-b8b6-5f176bda5671" providerId="ADAL" clId="{5AF1FC53-AFEF-4854-BDA8-B51B0122CBF2}" dt="2024-09-17T23:34:08.090" v="4450"/>
        <pc:sldMkLst>
          <pc:docMk/>
          <pc:sldMk cId="467861576" sldId="2145706694"/>
        </pc:sldMkLst>
      </pc:sldChg>
      <pc:sldChg chg="addSp delSp modSp new mod modAnim">
        <pc:chgData name="Westhoff, Amir" userId="8d048e8d-3042-4117-b8b6-5f176bda5671" providerId="ADAL" clId="{5AF1FC53-AFEF-4854-BDA8-B51B0122CBF2}" dt="2024-09-18T21:23:10.137" v="8216"/>
        <pc:sldMkLst>
          <pc:docMk/>
          <pc:sldMk cId="1842401901" sldId="2145706695"/>
        </pc:sldMkLst>
        <pc:spChg chg="del">
          <ac:chgData name="Westhoff, Amir" userId="8d048e8d-3042-4117-b8b6-5f176bda5671" providerId="ADAL" clId="{5AF1FC53-AFEF-4854-BDA8-B51B0122CBF2}" dt="2024-09-18T20:08:25.202" v="6777" actId="478"/>
          <ac:spMkLst>
            <pc:docMk/>
            <pc:sldMk cId="1842401901" sldId="2145706695"/>
            <ac:spMk id="2" creationId="{C19882D1-7C6E-EC31-C06B-B723403FED0F}"/>
          </ac:spMkLst>
        </pc:spChg>
        <pc:spChg chg="mod">
          <ac:chgData name="Westhoff, Amir" userId="8d048e8d-3042-4117-b8b6-5f176bda5671" providerId="ADAL" clId="{5AF1FC53-AFEF-4854-BDA8-B51B0122CBF2}" dt="2024-09-17T23:36:16.542" v="4593" actId="20577"/>
          <ac:spMkLst>
            <pc:docMk/>
            <pc:sldMk cId="1842401901" sldId="2145706695"/>
            <ac:spMk id="3" creationId="{F871ACB4-4529-19AA-A162-974A2EF8D149}"/>
          </ac:spMkLst>
        </pc:spChg>
        <pc:spChg chg="add mod">
          <ac:chgData name="Westhoff, Amir" userId="8d048e8d-3042-4117-b8b6-5f176bda5671" providerId="ADAL" clId="{5AF1FC53-AFEF-4854-BDA8-B51B0122CBF2}" dt="2024-09-18T20:08:03.901" v="6776" actId="20577"/>
          <ac:spMkLst>
            <pc:docMk/>
            <pc:sldMk cId="1842401901" sldId="2145706695"/>
            <ac:spMk id="6" creationId="{FA0AB846-3791-3059-7347-3AEA2058753C}"/>
          </ac:spMkLst>
        </pc:spChg>
        <pc:spChg chg="add mod">
          <ac:chgData name="Westhoff, Amir" userId="8d048e8d-3042-4117-b8b6-5f176bda5671" providerId="ADAL" clId="{5AF1FC53-AFEF-4854-BDA8-B51B0122CBF2}" dt="2024-09-18T20:09:47.137" v="7017" actId="1076"/>
          <ac:spMkLst>
            <pc:docMk/>
            <pc:sldMk cId="1842401901" sldId="2145706695"/>
            <ac:spMk id="7" creationId="{4BBF9196-53FD-EE8E-044E-96102AE99FEF}"/>
          </ac:spMkLst>
        </pc:spChg>
        <pc:picChg chg="add mod">
          <ac:chgData name="Westhoff, Amir" userId="8d048e8d-3042-4117-b8b6-5f176bda5671" providerId="ADAL" clId="{5AF1FC53-AFEF-4854-BDA8-B51B0122CBF2}" dt="2024-09-18T20:08:33.919" v="6782" actId="14100"/>
          <ac:picMkLst>
            <pc:docMk/>
            <pc:sldMk cId="1842401901" sldId="2145706695"/>
            <ac:picMk id="5" creationId="{0B2B2E9F-07E2-8C10-77C7-61F4C14B5ACF}"/>
          </ac:picMkLst>
        </pc:picChg>
      </pc:sldChg>
      <pc:sldChg chg="modSp add del mod ord">
        <pc:chgData name="Westhoff, Amir" userId="8d048e8d-3042-4117-b8b6-5f176bda5671" providerId="ADAL" clId="{5AF1FC53-AFEF-4854-BDA8-B51B0122CBF2}" dt="2024-09-18T20:21:47.970" v="7283" actId="47"/>
        <pc:sldMkLst>
          <pc:docMk/>
          <pc:sldMk cId="10494086" sldId="2145706696"/>
        </pc:sldMkLst>
        <pc:spChg chg="mod">
          <ac:chgData name="Westhoff, Amir" userId="8d048e8d-3042-4117-b8b6-5f176bda5671" providerId="ADAL" clId="{5AF1FC53-AFEF-4854-BDA8-B51B0122CBF2}" dt="2024-09-18T19:26:36.424" v="6749" actId="20577"/>
          <ac:spMkLst>
            <pc:docMk/>
            <pc:sldMk cId="10494086" sldId="2145706696"/>
            <ac:spMk id="3" creationId="{F871ACB4-4529-19AA-A162-974A2EF8D149}"/>
          </ac:spMkLst>
        </pc:spChg>
      </pc:sldChg>
      <pc:sldChg chg="addSp modSp add mod modAnim">
        <pc:chgData name="Westhoff, Amir" userId="8d048e8d-3042-4117-b8b6-5f176bda5671" providerId="ADAL" clId="{5AF1FC53-AFEF-4854-BDA8-B51B0122CBF2}" dt="2024-09-18T21:35:02.099" v="8493"/>
        <pc:sldMkLst>
          <pc:docMk/>
          <pc:sldMk cId="658278991" sldId="2145706697"/>
        </pc:sldMkLst>
        <pc:spChg chg="mod">
          <ac:chgData name="Westhoff, Amir" userId="8d048e8d-3042-4117-b8b6-5f176bda5671" providerId="ADAL" clId="{5AF1FC53-AFEF-4854-BDA8-B51B0122CBF2}" dt="2024-09-18T06:48:03.422" v="4842" actId="20577"/>
          <ac:spMkLst>
            <pc:docMk/>
            <pc:sldMk cId="658278991" sldId="2145706697"/>
            <ac:spMk id="2" creationId="{31A90110-B121-C3AD-4E6D-B4131F3B595E}"/>
          </ac:spMkLst>
        </pc:spChg>
        <pc:spChg chg="mod">
          <ac:chgData name="Westhoff, Amir" userId="8d048e8d-3042-4117-b8b6-5f176bda5671" providerId="ADAL" clId="{5AF1FC53-AFEF-4854-BDA8-B51B0122CBF2}" dt="2024-09-18T21:24:26.554" v="8304" actId="20577"/>
          <ac:spMkLst>
            <pc:docMk/>
            <pc:sldMk cId="658278991" sldId="2145706697"/>
            <ac:spMk id="3" creationId="{70440F56-B14B-014F-B750-5E1D7B85286E}"/>
          </ac:spMkLst>
        </pc:spChg>
        <pc:spChg chg="mod">
          <ac:chgData name="Westhoff, Amir" userId="8d048e8d-3042-4117-b8b6-5f176bda5671" providerId="ADAL" clId="{5AF1FC53-AFEF-4854-BDA8-B51B0122CBF2}" dt="2024-09-18T06:47:57.166" v="4841" actId="20577"/>
          <ac:spMkLst>
            <pc:docMk/>
            <pc:sldMk cId="658278991" sldId="2145706697"/>
            <ac:spMk id="4" creationId="{8EA8629F-B321-D125-378B-2918F93A2254}"/>
          </ac:spMkLst>
        </pc:spChg>
        <pc:picChg chg="add mod">
          <ac:chgData name="Westhoff, Amir" userId="8d048e8d-3042-4117-b8b6-5f176bda5671" providerId="ADAL" clId="{5AF1FC53-AFEF-4854-BDA8-B51B0122CBF2}" dt="2024-09-18T20:47:43.431" v="7867" actId="14100"/>
          <ac:picMkLst>
            <pc:docMk/>
            <pc:sldMk cId="658278991" sldId="2145706697"/>
            <ac:picMk id="6" creationId="{9F3C3C7C-CC9D-D7B7-007E-57EF111B7037}"/>
          </ac:picMkLst>
        </pc:picChg>
      </pc:sldChg>
      <pc:sldChg chg="addSp modSp new mod modAnim">
        <pc:chgData name="Westhoff, Amir" userId="8d048e8d-3042-4117-b8b6-5f176bda5671" providerId="ADAL" clId="{5AF1FC53-AFEF-4854-BDA8-B51B0122CBF2}" dt="2024-09-18T21:31:27.664" v="8451"/>
        <pc:sldMkLst>
          <pc:docMk/>
          <pc:sldMk cId="3624090836" sldId="2145706698"/>
        </pc:sldMkLst>
        <pc:spChg chg="mod">
          <ac:chgData name="Westhoff, Amir" userId="8d048e8d-3042-4117-b8b6-5f176bda5671" providerId="ADAL" clId="{5AF1FC53-AFEF-4854-BDA8-B51B0122CBF2}" dt="2024-09-18T18:22:56.610" v="5365" actId="20577"/>
          <ac:spMkLst>
            <pc:docMk/>
            <pc:sldMk cId="3624090836" sldId="2145706698"/>
            <ac:spMk id="2" creationId="{31596744-D331-D5C2-0238-B6A2B937A9AA}"/>
          </ac:spMkLst>
        </pc:spChg>
        <pc:spChg chg="mod">
          <ac:chgData name="Westhoff, Amir" userId="8d048e8d-3042-4117-b8b6-5f176bda5671" providerId="ADAL" clId="{5AF1FC53-AFEF-4854-BDA8-B51B0122CBF2}" dt="2024-09-18T18:36:59.901" v="5686" actId="20577"/>
          <ac:spMkLst>
            <pc:docMk/>
            <pc:sldMk cId="3624090836" sldId="2145706698"/>
            <ac:spMk id="3" creationId="{9924AC41-B762-E000-590D-391BEBC0D574}"/>
          </ac:spMkLst>
        </pc:spChg>
        <pc:spChg chg="mod">
          <ac:chgData name="Westhoff, Amir" userId="8d048e8d-3042-4117-b8b6-5f176bda5671" providerId="ADAL" clId="{5AF1FC53-AFEF-4854-BDA8-B51B0122CBF2}" dt="2024-09-18T06:48:45.703" v="4868" actId="20577"/>
          <ac:spMkLst>
            <pc:docMk/>
            <pc:sldMk cId="3624090836" sldId="2145706698"/>
            <ac:spMk id="4" creationId="{3BB24D47-B315-45EB-84AC-8A456A26F8D3}"/>
          </ac:spMkLst>
        </pc:spChg>
        <pc:picChg chg="add mod">
          <ac:chgData name="Westhoff, Amir" userId="8d048e8d-3042-4117-b8b6-5f176bda5671" providerId="ADAL" clId="{5AF1FC53-AFEF-4854-BDA8-B51B0122CBF2}" dt="2024-09-18T18:13:45.113" v="5141" actId="1076"/>
          <ac:picMkLst>
            <pc:docMk/>
            <pc:sldMk cId="3624090836" sldId="2145706698"/>
            <ac:picMk id="6" creationId="{75104688-8C00-2B21-A474-D486F6DAD4E3}"/>
          </ac:picMkLst>
        </pc:picChg>
        <pc:picChg chg="add mod">
          <ac:chgData name="Westhoff, Amir" userId="8d048e8d-3042-4117-b8b6-5f176bda5671" providerId="ADAL" clId="{5AF1FC53-AFEF-4854-BDA8-B51B0122CBF2}" dt="2024-09-18T18:15:34.256" v="5205" actId="14100"/>
          <ac:picMkLst>
            <pc:docMk/>
            <pc:sldMk cId="3624090836" sldId="2145706698"/>
            <ac:picMk id="8" creationId="{9DC766FE-8D68-C643-2F9A-72D21525F102}"/>
          </ac:picMkLst>
        </pc:picChg>
        <pc:picChg chg="add mod">
          <ac:chgData name="Westhoff, Amir" userId="8d048e8d-3042-4117-b8b6-5f176bda5671" providerId="ADAL" clId="{5AF1FC53-AFEF-4854-BDA8-B51B0122CBF2}" dt="2024-09-18T18:15:00.788" v="5204" actId="1076"/>
          <ac:picMkLst>
            <pc:docMk/>
            <pc:sldMk cId="3624090836" sldId="2145706698"/>
            <ac:picMk id="10" creationId="{7316F8D3-FCAF-1A72-62EF-9CE1039422DE}"/>
          </ac:picMkLst>
        </pc:picChg>
      </pc:sldChg>
      <pc:sldChg chg="addSp modSp add mod ord modAnim">
        <pc:chgData name="Westhoff, Amir" userId="8d048e8d-3042-4117-b8b6-5f176bda5671" providerId="ADAL" clId="{5AF1FC53-AFEF-4854-BDA8-B51B0122CBF2}" dt="2024-09-18T21:28:18.666" v="8426"/>
        <pc:sldMkLst>
          <pc:docMk/>
          <pc:sldMk cId="3760060442" sldId="2145706699"/>
        </pc:sldMkLst>
        <pc:spChg chg="mod">
          <ac:chgData name="Westhoff, Amir" userId="8d048e8d-3042-4117-b8b6-5f176bda5671" providerId="ADAL" clId="{5AF1FC53-AFEF-4854-BDA8-B51B0122CBF2}" dt="2024-09-18T18:22:13.621" v="5355" actId="20577"/>
          <ac:spMkLst>
            <pc:docMk/>
            <pc:sldMk cId="3760060442" sldId="2145706699"/>
            <ac:spMk id="2" creationId="{31A90110-B121-C3AD-4E6D-B4131F3B595E}"/>
          </ac:spMkLst>
        </pc:spChg>
        <pc:spChg chg="mod">
          <ac:chgData name="Westhoff, Amir" userId="8d048e8d-3042-4117-b8b6-5f176bda5671" providerId="ADAL" clId="{5AF1FC53-AFEF-4854-BDA8-B51B0122CBF2}" dt="2024-09-18T19:18:48.881" v="6730" actId="20577"/>
          <ac:spMkLst>
            <pc:docMk/>
            <pc:sldMk cId="3760060442" sldId="2145706699"/>
            <ac:spMk id="3" creationId="{70440F56-B14B-014F-B750-5E1D7B85286E}"/>
          </ac:spMkLst>
        </pc:spChg>
        <pc:spChg chg="mod">
          <ac:chgData name="Westhoff, Amir" userId="8d048e8d-3042-4117-b8b6-5f176bda5671" providerId="ADAL" clId="{5AF1FC53-AFEF-4854-BDA8-B51B0122CBF2}" dt="2024-09-18T06:49:12.603" v="4928" actId="20577"/>
          <ac:spMkLst>
            <pc:docMk/>
            <pc:sldMk cId="3760060442" sldId="2145706699"/>
            <ac:spMk id="4" creationId="{8EA8629F-B321-D125-378B-2918F93A2254}"/>
          </ac:spMkLst>
        </pc:spChg>
        <pc:picChg chg="add mod">
          <ac:chgData name="Westhoff, Amir" userId="8d048e8d-3042-4117-b8b6-5f176bda5671" providerId="ADAL" clId="{5AF1FC53-AFEF-4854-BDA8-B51B0122CBF2}" dt="2024-09-18T20:18:23.718" v="7044"/>
          <ac:picMkLst>
            <pc:docMk/>
            <pc:sldMk cId="3760060442" sldId="2145706699"/>
            <ac:picMk id="6" creationId="{ED895FEF-F79C-A06D-6D00-565DA5057FC5}"/>
          </ac:picMkLst>
        </pc:picChg>
        <pc:picChg chg="add mod">
          <ac:chgData name="Westhoff, Amir" userId="8d048e8d-3042-4117-b8b6-5f176bda5671" providerId="ADAL" clId="{5AF1FC53-AFEF-4854-BDA8-B51B0122CBF2}" dt="2024-09-18T20:18:12.513" v="7043"/>
          <ac:picMkLst>
            <pc:docMk/>
            <pc:sldMk cId="3760060442" sldId="2145706699"/>
            <ac:picMk id="8" creationId="{463F5F9F-3A4F-ACF3-1483-218AEE9527D1}"/>
          </ac:picMkLst>
        </pc:picChg>
        <pc:picChg chg="add mod ord">
          <ac:chgData name="Westhoff, Amir" userId="8d048e8d-3042-4117-b8b6-5f176bda5671" providerId="ADAL" clId="{5AF1FC53-AFEF-4854-BDA8-B51B0122CBF2}" dt="2024-09-18T20:18:34.676" v="7045"/>
          <ac:picMkLst>
            <pc:docMk/>
            <pc:sldMk cId="3760060442" sldId="2145706699"/>
            <ac:picMk id="10" creationId="{4A958559-2866-AEF3-88F1-9BBA4D968258}"/>
          </ac:picMkLst>
        </pc:picChg>
        <pc:picChg chg="add mod">
          <ac:chgData name="Westhoff, Amir" userId="8d048e8d-3042-4117-b8b6-5f176bda5671" providerId="ADAL" clId="{5AF1FC53-AFEF-4854-BDA8-B51B0122CBF2}" dt="2024-09-18T20:18:03.287" v="7042"/>
          <ac:picMkLst>
            <pc:docMk/>
            <pc:sldMk cId="3760060442" sldId="2145706699"/>
            <ac:picMk id="12" creationId="{87092C37-9915-32FA-FA34-ACE031B94DCA}"/>
          </ac:picMkLst>
        </pc:picChg>
      </pc:sldChg>
      <pc:sldChg chg="modSp new mod">
        <pc:chgData name="Westhoff, Amir" userId="8d048e8d-3042-4117-b8b6-5f176bda5671" providerId="ADAL" clId="{5AF1FC53-AFEF-4854-BDA8-B51B0122CBF2}" dt="2024-09-18T18:19:30.840" v="5235" actId="20577"/>
        <pc:sldMkLst>
          <pc:docMk/>
          <pc:sldMk cId="446504955" sldId="2145706700"/>
        </pc:sldMkLst>
        <pc:spChg chg="mod">
          <ac:chgData name="Westhoff, Amir" userId="8d048e8d-3042-4117-b8b6-5f176bda5671" providerId="ADAL" clId="{5AF1FC53-AFEF-4854-BDA8-B51B0122CBF2}" dt="2024-09-18T18:19:30.840" v="5235" actId="20577"/>
          <ac:spMkLst>
            <pc:docMk/>
            <pc:sldMk cId="446504955" sldId="2145706700"/>
            <ac:spMk id="2" creationId="{D2BAE83F-56EA-C2A2-ECEA-737AE58E6F3F}"/>
          </ac:spMkLst>
        </pc:spChg>
      </pc:sldChg>
      <pc:sldChg chg="addSp delSp modSp add mod modClrScheme chgLayout">
        <pc:chgData name="Westhoff, Amir" userId="8d048e8d-3042-4117-b8b6-5f176bda5671" providerId="ADAL" clId="{5AF1FC53-AFEF-4854-BDA8-B51B0122CBF2}" dt="2024-09-18T20:42:51.783" v="7536" actId="18131"/>
        <pc:sldMkLst>
          <pc:docMk/>
          <pc:sldMk cId="3920120565" sldId="2145706701"/>
        </pc:sldMkLst>
        <pc:spChg chg="mod ord">
          <ac:chgData name="Westhoff, Amir" userId="8d048e8d-3042-4117-b8b6-5f176bda5671" providerId="ADAL" clId="{5AF1FC53-AFEF-4854-BDA8-B51B0122CBF2}" dt="2024-09-18T20:42:34.765" v="7534" actId="14100"/>
          <ac:spMkLst>
            <pc:docMk/>
            <pc:sldMk cId="3920120565" sldId="2145706701"/>
            <ac:spMk id="2" creationId="{31596744-D331-D5C2-0238-B6A2B937A9AA}"/>
          </ac:spMkLst>
        </pc:spChg>
        <pc:spChg chg="del mod">
          <ac:chgData name="Westhoff, Amir" userId="8d048e8d-3042-4117-b8b6-5f176bda5671" providerId="ADAL" clId="{5AF1FC53-AFEF-4854-BDA8-B51B0122CBF2}" dt="2024-09-18T20:42:31.681" v="7533" actId="26606"/>
          <ac:spMkLst>
            <pc:docMk/>
            <pc:sldMk cId="3920120565" sldId="2145706701"/>
            <ac:spMk id="3" creationId="{9924AC41-B762-E000-590D-391BEBC0D574}"/>
          </ac:spMkLst>
        </pc:spChg>
        <pc:spChg chg="mod ord">
          <ac:chgData name="Westhoff, Amir" userId="8d048e8d-3042-4117-b8b6-5f176bda5671" providerId="ADAL" clId="{5AF1FC53-AFEF-4854-BDA8-B51B0122CBF2}" dt="2024-09-18T20:42:31.681" v="7533" actId="26606"/>
          <ac:spMkLst>
            <pc:docMk/>
            <pc:sldMk cId="3920120565" sldId="2145706701"/>
            <ac:spMk id="4" creationId="{3BB24D47-B315-45EB-84AC-8A456A26F8D3}"/>
          </ac:spMkLst>
        </pc:spChg>
        <pc:picChg chg="add mod modCrop">
          <ac:chgData name="Westhoff, Amir" userId="8d048e8d-3042-4117-b8b6-5f176bda5671" providerId="ADAL" clId="{5AF1FC53-AFEF-4854-BDA8-B51B0122CBF2}" dt="2024-09-18T20:42:51.783" v="7536" actId="18131"/>
          <ac:picMkLst>
            <pc:docMk/>
            <pc:sldMk cId="3920120565" sldId="2145706701"/>
            <ac:picMk id="6" creationId="{076DEE8C-D895-0FD3-2174-FAD3AA704A83}"/>
          </ac:picMkLst>
        </pc:picChg>
        <pc:picChg chg="del">
          <ac:chgData name="Westhoff, Amir" userId="8d048e8d-3042-4117-b8b6-5f176bda5671" providerId="ADAL" clId="{5AF1FC53-AFEF-4854-BDA8-B51B0122CBF2}" dt="2024-09-18T18:20:30.344" v="5320" actId="478"/>
          <ac:picMkLst>
            <pc:docMk/>
            <pc:sldMk cId="3920120565" sldId="2145706701"/>
            <ac:picMk id="6" creationId="{75104688-8C00-2B21-A474-D486F6DAD4E3}"/>
          </ac:picMkLst>
        </pc:picChg>
        <pc:picChg chg="del">
          <ac:chgData name="Westhoff, Amir" userId="8d048e8d-3042-4117-b8b6-5f176bda5671" providerId="ADAL" clId="{5AF1FC53-AFEF-4854-BDA8-B51B0122CBF2}" dt="2024-09-18T18:20:26.500" v="5318" actId="478"/>
          <ac:picMkLst>
            <pc:docMk/>
            <pc:sldMk cId="3920120565" sldId="2145706701"/>
            <ac:picMk id="8" creationId="{9DC766FE-8D68-C643-2F9A-72D21525F102}"/>
          </ac:picMkLst>
        </pc:picChg>
        <pc:picChg chg="del">
          <ac:chgData name="Westhoff, Amir" userId="8d048e8d-3042-4117-b8b6-5f176bda5671" providerId="ADAL" clId="{5AF1FC53-AFEF-4854-BDA8-B51B0122CBF2}" dt="2024-09-18T18:20:28.958" v="5319" actId="478"/>
          <ac:picMkLst>
            <pc:docMk/>
            <pc:sldMk cId="3920120565" sldId="2145706701"/>
            <ac:picMk id="10" creationId="{7316F8D3-FCAF-1A72-62EF-9CE1039422DE}"/>
          </ac:picMkLst>
        </pc:picChg>
      </pc:sldChg>
      <pc:sldChg chg="addSp delSp modSp add mod ord modAnim">
        <pc:chgData name="Westhoff, Amir" userId="8d048e8d-3042-4117-b8b6-5f176bda5671" providerId="ADAL" clId="{5AF1FC53-AFEF-4854-BDA8-B51B0122CBF2}" dt="2024-09-18T21:23:18.256" v="8217"/>
        <pc:sldMkLst>
          <pc:docMk/>
          <pc:sldMk cId="3696394198" sldId="2145706702"/>
        </pc:sldMkLst>
        <pc:spChg chg="del">
          <ac:chgData name="Westhoff, Amir" userId="8d048e8d-3042-4117-b8b6-5f176bda5671" providerId="ADAL" clId="{5AF1FC53-AFEF-4854-BDA8-B51B0122CBF2}" dt="2024-09-18T20:45:32.124" v="7758" actId="478"/>
          <ac:spMkLst>
            <pc:docMk/>
            <pc:sldMk cId="3696394198" sldId="2145706702"/>
            <ac:spMk id="2" creationId="{C19882D1-7C6E-EC31-C06B-B723403FED0F}"/>
          </ac:spMkLst>
        </pc:spChg>
        <pc:spChg chg="mod">
          <ac:chgData name="Westhoff, Amir" userId="8d048e8d-3042-4117-b8b6-5f176bda5671" providerId="ADAL" clId="{5AF1FC53-AFEF-4854-BDA8-B51B0122CBF2}" dt="2024-09-18T18:57:48.591" v="6323" actId="20577"/>
          <ac:spMkLst>
            <pc:docMk/>
            <pc:sldMk cId="3696394198" sldId="2145706702"/>
            <ac:spMk id="3" creationId="{F871ACB4-4529-19AA-A162-974A2EF8D149}"/>
          </ac:spMkLst>
        </pc:spChg>
        <pc:spChg chg="add mod">
          <ac:chgData name="Westhoff, Amir" userId="8d048e8d-3042-4117-b8b6-5f176bda5671" providerId="ADAL" clId="{5AF1FC53-AFEF-4854-BDA8-B51B0122CBF2}" dt="2024-09-18T20:21:43.908" v="7282" actId="20577"/>
          <ac:spMkLst>
            <pc:docMk/>
            <pc:sldMk cId="3696394198" sldId="2145706702"/>
            <ac:spMk id="6" creationId="{843268BD-825E-B32D-27BB-A0AE5D702FB7}"/>
          </ac:spMkLst>
        </pc:spChg>
        <pc:picChg chg="add mod">
          <ac:chgData name="Westhoff, Amir" userId="8d048e8d-3042-4117-b8b6-5f176bda5671" providerId="ADAL" clId="{5AF1FC53-AFEF-4854-BDA8-B51B0122CBF2}" dt="2024-09-18T20:20:30.467" v="7048" actId="14100"/>
          <ac:picMkLst>
            <pc:docMk/>
            <pc:sldMk cId="3696394198" sldId="2145706702"/>
            <ac:picMk id="5" creationId="{CF7A4F57-D732-B49D-AAB4-B7E09EE66A3F}"/>
          </ac:picMkLst>
        </pc:picChg>
      </pc:sldChg>
      <pc:sldChg chg="modSp add del mod">
        <pc:chgData name="Westhoff, Amir" userId="8d048e8d-3042-4117-b8b6-5f176bda5671" providerId="ADAL" clId="{5AF1FC53-AFEF-4854-BDA8-B51B0122CBF2}" dt="2024-09-18T18:35:44.668" v="5617" actId="47"/>
        <pc:sldMkLst>
          <pc:docMk/>
          <pc:sldMk cId="3783575700" sldId="2145706702"/>
        </pc:sldMkLst>
        <pc:spChg chg="mod">
          <ac:chgData name="Westhoff, Amir" userId="8d048e8d-3042-4117-b8b6-5f176bda5671" providerId="ADAL" clId="{5AF1FC53-AFEF-4854-BDA8-B51B0122CBF2}" dt="2024-09-18T18:34:48.918" v="5612" actId="20577"/>
          <ac:spMkLst>
            <pc:docMk/>
            <pc:sldMk cId="3783575700" sldId="2145706702"/>
            <ac:spMk id="2" creationId="{4357B6D9-EE0F-9C95-7487-D705FAA9F6F9}"/>
          </ac:spMkLst>
        </pc:spChg>
        <pc:spChg chg="mod">
          <ac:chgData name="Westhoff, Amir" userId="8d048e8d-3042-4117-b8b6-5f176bda5671" providerId="ADAL" clId="{5AF1FC53-AFEF-4854-BDA8-B51B0122CBF2}" dt="2024-09-18T18:35:00.011" v="5616" actId="14100"/>
          <ac:spMkLst>
            <pc:docMk/>
            <pc:sldMk cId="3783575700" sldId="2145706702"/>
            <ac:spMk id="3" creationId="{60CE47EF-1919-AEB6-7CC5-5A5CB55A769E}"/>
          </ac:spMkLst>
        </pc:spChg>
      </pc:sldChg>
      <pc:sldChg chg="delSp modSp new mod">
        <pc:chgData name="Westhoff, Amir" userId="8d048e8d-3042-4117-b8b6-5f176bda5671" providerId="ADAL" clId="{5AF1FC53-AFEF-4854-BDA8-B51B0122CBF2}" dt="2024-09-18T20:43:32.168" v="7596" actId="6549"/>
        <pc:sldMkLst>
          <pc:docMk/>
          <pc:sldMk cId="663504904" sldId="2145706703"/>
        </pc:sldMkLst>
        <pc:spChg chg="del">
          <ac:chgData name="Westhoff, Amir" userId="8d048e8d-3042-4117-b8b6-5f176bda5671" providerId="ADAL" clId="{5AF1FC53-AFEF-4854-BDA8-B51B0122CBF2}" dt="2024-09-18T20:43:28.860" v="7594" actId="478"/>
          <ac:spMkLst>
            <pc:docMk/>
            <pc:sldMk cId="663504904" sldId="2145706703"/>
            <ac:spMk id="2" creationId="{4E62A7C0-F58A-BADA-080A-1FEDE08DBD63}"/>
          </ac:spMkLst>
        </pc:spChg>
        <pc:spChg chg="mod">
          <ac:chgData name="Westhoff, Amir" userId="8d048e8d-3042-4117-b8b6-5f176bda5671" providerId="ADAL" clId="{5AF1FC53-AFEF-4854-BDA8-B51B0122CBF2}" dt="2024-09-18T20:43:32.168" v="7596" actId="6549"/>
          <ac:spMkLst>
            <pc:docMk/>
            <pc:sldMk cId="663504904" sldId="2145706703"/>
            <ac:spMk id="3" creationId="{9527F09F-6266-5206-53F1-3489907D34FC}"/>
          </ac:spMkLst>
        </pc:spChg>
        <pc:spChg chg="del">
          <ac:chgData name="Westhoff, Amir" userId="8d048e8d-3042-4117-b8b6-5f176bda5671" providerId="ADAL" clId="{5AF1FC53-AFEF-4854-BDA8-B51B0122CBF2}" dt="2024-09-18T20:43:30.602" v="7595" actId="478"/>
          <ac:spMkLst>
            <pc:docMk/>
            <pc:sldMk cId="663504904" sldId="2145706703"/>
            <ac:spMk id="4" creationId="{593403D9-6DEB-874A-B70A-07E62B579987}"/>
          </ac:spMkLst>
        </pc:spChg>
      </pc:sldChg>
      <pc:sldChg chg="delSp modSp add mod">
        <pc:chgData name="Westhoff, Amir" userId="8d048e8d-3042-4117-b8b6-5f176bda5671" providerId="ADAL" clId="{5AF1FC53-AFEF-4854-BDA8-B51B0122CBF2}" dt="2024-09-18T21:21:37.169" v="8213" actId="1076"/>
        <pc:sldMkLst>
          <pc:docMk/>
          <pc:sldMk cId="394477532" sldId="2145706704"/>
        </pc:sldMkLst>
        <pc:spChg chg="mod">
          <ac:chgData name="Westhoff, Amir" userId="8d048e8d-3042-4117-b8b6-5f176bda5671" providerId="ADAL" clId="{5AF1FC53-AFEF-4854-BDA8-B51B0122CBF2}" dt="2024-09-18T21:20:38.032" v="8108" actId="20577"/>
          <ac:spMkLst>
            <pc:docMk/>
            <pc:sldMk cId="394477532" sldId="2145706704"/>
            <ac:spMk id="2" creationId="{37C74FAB-9686-B087-A40B-EACFD043E871}"/>
          </ac:spMkLst>
        </pc:spChg>
        <pc:spChg chg="mod">
          <ac:chgData name="Westhoff, Amir" userId="8d048e8d-3042-4117-b8b6-5f176bda5671" providerId="ADAL" clId="{5AF1FC53-AFEF-4854-BDA8-B51B0122CBF2}" dt="2024-09-18T21:21:34.211" v="8212" actId="1076"/>
          <ac:spMkLst>
            <pc:docMk/>
            <pc:sldMk cId="394477532" sldId="2145706704"/>
            <ac:spMk id="5" creationId="{72D0D9BF-CCDC-F428-2A99-4B3F5716D157}"/>
          </ac:spMkLst>
        </pc:spChg>
        <pc:spChg chg="mod">
          <ac:chgData name="Westhoff, Amir" userId="8d048e8d-3042-4117-b8b6-5f176bda5671" providerId="ADAL" clId="{5AF1FC53-AFEF-4854-BDA8-B51B0122CBF2}" dt="2024-09-18T21:21:37.169" v="8213" actId="1076"/>
          <ac:spMkLst>
            <pc:docMk/>
            <pc:sldMk cId="394477532" sldId="2145706704"/>
            <ac:spMk id="9" creationId="{1E14035E-BEA1-69C3-AF7F-AF8D15514FD0}"/>
          </ac:spMkLst>
        </pc:spChg>
        <pc:spChg chg="del mod">
          <ac:chgData name="Westhoff, Amir" userId="8d048e8d-3042-4117-b8b6-5f176bda5671" providerId="ADAL" clId="{5AF1FC53-AFEF-4854-BDA8-B51B0122CBF2}" dt="2024-09-18T21:21:24.908" v="8211"/>
          <ac:spMkLst>
            <pc:docMk/>
            <pc:sldMk cId="394477532" sldId="2145706704"/>
            <ac:spMk id="11" creationId="{9BC461E0-0884-575C-2C92-F9E8BE4B82AD}"/>
          </ac:spMkLst>
        </pc:spChg>
      </pc:sldChg>
      <pc:sldMasterChg chg="modSp mod delSldLayout">
        <pc:chgData name="Westhoff, Amir" userId="8d048e8d-3042-4117-b8b6-5f176bda5671" providerId="ADAL" clId="{5AF1FC53-AFEF-4854-BDA8-B51B0122CBF2}" dt="2024-09-16T20:37:16.668" v="273" actId="47"/>
        <pc:sldMasterMkLst>
          <pc:docMk/>
          <pc:sldMasterMk cId="2719133398" sldId="2147484118"/>
        </pc:sldMasterMkLst>
        <pc:spChg chg="mod">
          <ac:chgData name="Westhoff, Amir" userId="8d048e8d-3042-4117-b8b6-5f176bda5671" providerId="ADAL" clId="{5AF1FC53-AFEF-4854-BDA8-B51B0122CBF2}" dt="2024-09-16T20:36:43.379" v="271" actId="20577"/>
          <ac:spMkLst>
            <pc:docMk/>
            <pc:sldMasterMk cId="2719133398" sldId="2147484118"/>
            <ac:spMk id="3" creationId="{62086BA9-1591-C6CD-E573-A5F8961683B1}"/>
          </ac:spMkLst>
        </pc:spChg>
        <pc:sldLayoutChg chg="del">
          <pc:chgData name="Westhoff, Amir" userId="8d048e8d-3042-4117-b8b6-5f176bda5671" providerId="ADAL" clId="{5AF1FC53-AFEF-4854-BDA8-B51B0122CBF2}" dt="2024-09-16T20:37:16.668" v="273" actId="47"/>
          <pc:sldLayoutMkLst>
            <pc:docMk/>
            <pc:sldMasterMk cId="2719133398" sldId="2147484118"/>
            <pc:sldLayoutMk cId="2641305426" sldId="2147484152"/>
          </pc:sldLayoutMkLst>
        </pc:sldLayoutChg>
        <pc:sldLayoutChg chg="del">
          <pc:chgData name="Westhoff, Amir" userId="8d048e8d-3042-4117-b8b6-5f176bda5671" providerId="ADAL" clId="{5AF1FC53-AFEF-4854-BDA8-B51B0122CBF2}" dt="2024-09-16T20:37:16.668" v="273" actId="47"/>
          <pc:sldLayoutMkLst>
            <pc:docMk/>
            <pc:sldMasterMk cId="2719133398" sldId="2147484118"/>
            <pc:sldLayoutMk cId="1460158364" sldId="2147484153"/>
          </pc:sldLayoutMkLst>
        </pc:sldLayoutChg>
        <pc:sldLayoutChg chg="del">
          <pc:chgData name="Westhoff, Amir" userId="8d048e8d-3042-4117-b8b6-5f176bda5671" providerId="ADAL" clId="{5AF1FC53-AFEF-4854-BDA8-B51B0122CBF2}" dt="2024-09-16T20:37:16.668" v="273" actId="47"/>
          <pc:sldLayoutMkLst>
            <pc:docMk/>
            <pc:sldMasterMk cId="2719133398" sldId="2147484118"/>
            <pc:sldLayoutMk cId="321448922" sldId="2147484155"/>
          </pc:sldLayoutMkLst>
        </pc:sldLayoutChg>
        <pc:sldLayoutChg chg="del">
          <pc:chgData name="Westhoff, Amir" userId="8d048e8d-3042-4117-b8b6-5f176bda5671" providerId="ADAL" clId="{5AF1FC53-AFEF-4854-BDA8-B51B0122CBF2}" dt="2024-09-16T20:37:16.668" v="273" actId="47"/>
          <pc:sldLayoutMkLst>
            <pc:docMk/>
            <pc:sldMasterMk cId="2719133398" sldId="2147484118"/>
            <pc:sldLayoutMk cId="3440017611" sldId="2147484188"/>
          </pc:sldLayoutMkLst>
        </pc:sldLayoutChg>
        <pc:sldLayoutChg chg="del">
          <pc:chgData name="Westhoff, Amir" userId="8d048e8d-3042-4117-b8b6-5f176bda5671" providerId="ADAL" clId="{5AF1FC53-AFEF-4854-BDA8-B51B0122CBF2}" dt="2024-09-16T20:37:16.668" v="273" actId="47"/>
          <pc:sldLayoutMkLst>
            <pc:docMk/>
            <pc:sldMasterMk cId="2719133398" sldId="2147484118"/>
            <pc:sldLayoutMk cId="1779871826" sldId="2147484189"/>
          </pc:sldLayoutMkLst>
        </pc:sldLayoutChg>
        <pc:sldLayoutChg chg="del">
          <pc:chgData name="Westhoff, Amir" userId="8d048e8d-3042-4117-b8b6-5f176bda5671" providerId="ADAL" clId="{5AF1FC53-AFEF-4854-BDA8-B51B0122CBF2}" dt="2024-09-16T20:31:38.863" v="56" actId="47"/>
          <pc:sldLayoutMkLst>
            <pc:docMk/>
            <pc:sldMasterMk cId="2719133398" sldId="2147484118"/>
            <pc:sldLayoutMk cId="437144190" sldId="214748419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EF1CCE-0167-473A-9AC3-94E5940B889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nl-NL"/>
        </a:p>
      </dgm:t>
    </dgm:pt>
    <dgm:pt modelId="{8F166523-AFAD-4288-8894-0A0B5801C784}">
      <dgm:prSet phldrT="[Text]" custT="1"/>
      <dgm:spPr/>
      <dgm:t>
        <a:bodyPr/>
        <a:lstStyle/>
        <a:p>
          <a:r>
            <a:rPr lang="nl-NL" sz="1800" dirty="0"/>
            <a:t>Data interoperability</a:t>
          </a:r>
        </a:p>
      </dgm:t>
    </dgm:pt>
    <dgm:pt modelId="{94EC6A25-4CCD-4065-B7C2-1DEBC115B4D2}" type="parTrans" cxnId="{08AC2416-50B9-4CE1-ADA2-13281874960F}">
      <dgm:prSet/>
      <dgm:spPr/>
      <dgm:t>
        <a:bodyPr/>
        <a:lstStyle/>
        <a:p>
          <a:endParaRPr lang="nl-NL" sz="1400"/>
        </a:p>
      </dgm:t>
    </dgm:pt>
    <dgm:pt modelId="{07D64506-6BC3-4F58-8B91-9F322DF4D1AD}" type="sibTrans" cxnId="{08AC2416-50B9-4CE1-ADA2-13281874960F}">
      <dgm:prSet/>
      <dgm:spPr/>
      <dgm:t>
        <a:bodyPr/>
        <a:lstStyle/>
        <a:p>
          <a:endParaRPr lang="nl-NL" sz="1400"/>
        </a:p>
      </dgm:t>
    </dgm:pt>
    <dgm:pt modelId="{9E804A5D-459C-4C91-9686-D796E3FD52A2}">
      <dgm:prSet phldrT="[Text]" custT="1"/>
      <dgm:spPr/>
      <dgm:t>
        <a:bodyPr/>
        <a:lstStyle/>
        <a:p>
          <a:r>
            <a:rPr lang="nl-NL" sz="1800" dirty="0"/>
            <a:t>Relationships are first class citizens</a:t>
          </a:r>
        </a:p>
      </dgm:t>
    </dgm:pt>
    <dgm:pt modelId="{A28CBC4F-C32A-4144-88DF-EAF862099EB0}" type="parTrans" cxnId="{CBAF4D5C-5F4E-4D1B-BBDF-891D6974841D}">
      <dgm:prSet/>
      <dgm:spPr/>
      <dgm:t>
        <a:bodyPr/>
        <a:lstStyle/>
        <a:p>
          <a:endParaRPr lang="nl-NL" sz="1400"/>
        </a:p>
      </dgm:t>
    </dgm:pt>
    <dgm:pt modelId="{3090B248-0CAB-4D72-A55A-0107AB09C797}" type="sibTrans" cxnId="{CBAF4D5C-5F4E-4D1B-BBDF-891D6974841D}">
      <dgm:prSet/>
      <dgm:spPr/>
      <dgm:t>
        <a:bodyPr/>
        <a:lstStyle/>
        <a:p>
          <a:endParaRPr lang="nl-NL" sz="1400"/>
        </a:p>
      </dgm:t>
    </dgm:pt>
    <dgm:pt modelId="{5AD7562E-B1EE-44C8-AD88-718DF5364F8F}">
      <dgm:prSet phldrT="[Text]" custT="1"/>
      <dgm:spPr/>
      <dgm:t>
        <a:bodyPr/>
        <a:lstStyle/>
        <a:p>
          <a:r>
            <a:rPr lang="nl-NL" sz="1800" dirty="0"/>
            <a:t>Data in graph paradigm</a:t>
          </a:r>
        </a:p>
      </dgm:t>
    </dgm:pt>
    <dgm:pt modelId="{894377AA-D47C-4020-BDFD-26BEB30DB66A}" type="parTrans" cxnId="{B3BE2123-1A8E-412E-AD73-43F0F387498A}">
      <dgm:prSet/>
      <dgm:spPr/>
      <dgm:t>
        <a:bodyPr/>
        <a:lstStyle/>
        <a:p>
          <a:endParaRPr lang="nl-NL" sz="1400"/>
        </a:p>
      </dgm:t>
    </dgm:pt>
    <dgm:pt modelId="{716BDC49-848F-4015-9613-44F30E86452F}" type="sibTrans" cxnId="{B3BE2123-1A8E-412E-AD73-43F0F387498A}">
      <dgm:prSet/>
      <dgm:spPr/>
      <dgm:t>
        <a:bodyPr/>
        <a:lstStyle/>
        <a:p>
          <a:endParaRPr lang="nl-NL" sz="1400"/>
        </a:p>
      </dgm:t>
    </dgm:pt>
    <dgm:pt modelId="{5E2B978C-ED61-4F59-A8B1-2E1F821166EF}">
      <dgm:prSet phldrT="[Text]" custT="1"/>
      <dgm:spPr/>
      <dgm:t>
        <a:bodyPr/>
        <a:lstStyle/>
        <a:p>
          <a:r>
            <a:rPr lang="nl-NL" sz="1800" dirty="0"/>
            <a:t>Model is part of the data</a:t>
          </a:r>
        </a:p>
      </dgm:t>
    </dgm:pt>
    <dgm:pt modelId="{4352B44D-E446-4423-B8EF-06D803AA5684}" type="parTrans" cxnId="{9E5B996F-6FE6-4FC7-BD5A-9D72CF12E4E5}">
      <dgm:prSet/>
      <dgm:spPr/>
      <dgm:t>
        <a:bodyPr/>
        <a:lstStyle/>
        <a:p>
          <a:endParaRPr lang="nl-NL" sz="1400"/>
        </a:p>
      </dgm:t>
    </dgm:pt>
    <dgm:pt modelId="{87212E85-46B1-4747-B855-945CE14C5FAD}" type="sibTrans" cxnId="{9E5B996F-6FE6-4FC7-BD5A-9D72CF12E4E5}">
      <dgm:prSet/>
      <dgm:spPr/>
      <dgm:t>
        <a:bodyPr/>
        <a:lstStyle/>
        <a:p>
          <a:endParaRPr lang="nl-NL" sz="1400"/>
        </a:p>
      </dgm:t>
    </dgm:pt>
    <dgm:pt modelId="{B2A30668-F27B-4E7C-ABA3-9CC59A75C1F2}">
      <dgm:prSet phldrT="[Text]" custT="1"/>
      <dgm:spPr/>
      <dgm:t>
        <a:bodyPr/>
        <a:lstStyle/>
        <a:p>
          <a:r>
            <a:rPr lang="nl-NL" sz="1800" dirty="0"/>
            <a:t>Reuse of URIs and semantics</a:t>
          </a:r>
        </a:p>
      </dgm:t>
    </dgm:pt>
    <dgm:pt modelId="{5B9F5967-A367-4B39-9042-29231E719C10}" type="parTrans" cxnId="{8FDE66A4-8784-454C-A918-AB1169013FB9}">
      <dgm:prSet/>
      <dgm:spPr/>
      <dgm:t>
        <a:bodyPr/>
        <a:lstStyle/>
        <a:p>
          <a:endParaRPr lang="nl-NL"/>
        </a:p>
      </dgm:t>
    </dgm:pt>
    <dgm:pt modelId="{713C4BAA-DEDC-4726-B838-4B6A97F985BB}" type="sibTrans" cxnId="{8FDE66A4-8784-454C-A918-AB1169013FB9}">
      <dgm:prSet/>
      <dgm:spPr/>
      <dgm:t>
        <a:bodyPr/>
        <a:lstStyle/>
        <a:p>
          <a:endParaRPr lang="nl-NL"/>
        </a:p>
      </dgm:t>
    </dgm:pt>
    <dgm:pt modelId="{54BDEA7E-E006-4A15-B5F7-D1223ACA0B3B}" type="pres">
      <dgm:prSet presAssocID="{BBEF1CCE-0167-473A-9AC3-94E5940B8896}" presName="diagram" presStyleCnt="0">
        <dgm:presLayoutVars>
          <dgm:dir/>
          <dgm:resizeHandles val="exact"/>
        </dgm:presLayoutVars>
      </dgm:prSet>
      <dgm:spPr/>
    </dgm:pt>
    <dgm:pt modelId="{0511F1F9-064E-4B98-AFDB-30035004FA8C}" type="pres">
      <dgm:prSet presAssocID="{8F166523-AFAD-4288-8894-0A0B5801C784}" presName="node" presStyleLbl="node1" presStyleIdx="0" presStyleCnt="5">
        <dgm:presLayoutVars>
          <dgm:bulletEnabled val="1"/>
        </dgm:presLayoutVars>
      </dgm:prSet>
      <dgm:spPr/>
    </dgm:pt>
    <dgm:pt modelId="{83FC376A-A91B-42B5-8D25-6F349B71414F}" type="pres">
      <dgm:prSet presAssocID="{07D64506-6BC3-4F58-8B91-9F322DF4D1AD}" presName="sibTrans" presStyleCnt="0"/>
      <dgm:spPr/>
    </dgm:pt>
    <dgm:pt modelId="{4D4BD61A-6D12-4D65-8E3E-DB55608282E9}" type="pres">
      <dgm:prSet presAssocID="{9E804A5D-459C-4C91-9686-D796E3FD52A2}" presName="node" presStyleLbl="node1" presStyleIdx="1" presStyleCnt="5">
        <dgm:presLayoutVars>
          <dgm:bulletEnabled val="1"/>
        </dgm:presLayoutVars>
      </dgm:prSet>
      <dgm:spPr/>
    </dgm:pt>
    <dgm:pt modelId="{B50C75B5-CD9C-4EF9-BEA3-60471D1AE11B}" type="pres">
      <dgm:prSet presAssocID="{3090B248-0CAB-4D72-A55A-0107AB09C797}" presName="sibTrans" presStyleCnt="0"/>
      <dgm:spPr/>
    </dgm:pt>
    <dgm:pt modelId="{81C3AB76-C62D-43A2-9435-CB5CF4886CD3}" type="pres">
      <dgm:prSet presAssocID="{5AD7562E-B1EE-44C8-AD88-718DF5364F8F}" presName="node" presStyleLbl="node1" presStyleIdx="2" presStyleCnt="5">
        <dgm:presLayoutVars>
          <dgm:bulletEnabled val="1"/>
        </dgm:presLayoutVars>
      </dgm:prSet>
      <dgm:spPr/>
    </dgm:pt>
    <dgm:pt modelId="{991F1DB3-2367-4AE1-8B2C-0E82FB0B5BE1}" type="pres">
      <dgm:prSet presAssocID="{716BDC49-848F-4015-9613-44F30E86452F}" presName="sibTrans" presStyleCnt="0"/>
      <dgm:spPr/>
    </dgm:pt>
    <dgm:pt modelId="{596A755E-6CE1-438F-8490-7EF5EE9612FD}" type="pres">
      <dgm:prSet presAssocID="{5E2B978C-ED61-4F59-A8B1-2E1F821166EF}" presName="node" presStyleLbl="node1" presStyleIdx="3" presStyleCnt="5">
        <dgm:presLayoutVars>
          <dgm:bulletEnabled val="1"/>
        </dgm:presLayoutVars>
      </dgm:prSet>
      <dgm:spPr/>
    </dgm:pt>
    <dgm:pt modelId="{C9666BE6-0E28-4000-BBCC-3E0398F05727}" type="pres">
      <dgm:prSet presAssocID="{87212E85-46B1-4747-B855-945CE14C5FAD}" presName="sibTrans" presStyleCnt="0"/>
      <dgm:spPr/>
    </dgm:pt>
    <dgm:pt modelId="{792E36F3-0A25-4C0B-8188-9C764A02CB2C}" type="pres">
      <dgm:prSet presAssocID="{B2A30668-F27B-4E7C-ABA3-9CC59A75C1F2}" presName="node" presStyleLbl="node1" presStyleIdx="4" presStyleCnt="5">
        <dgm:presLayoutVars>
          <dgm:bulletEnabled val="1"/>
        </dgm:presLayoutVars>
      </dgm:prSet>
      <dgm:spPr/>
    </dgm:pt>
  </dgm:ptLst>
  <dgm:cxnLst>
    <dgm:cxn modelId="{FDE9CB11-8DCC-41CB-A23D-098AFDC7C026}" type="presOf" srcId="{5AD7562E-B1EE-44C8-AD88-718DF5364F8F}" destId="{81C3AB76-C62D-43A2-9435-CB5CF4886CD3}" srcOrd="0" destOrd="0" presId="urn:microsoft.com/office/officeart/2005/8/layout/default"/>
    <dgm:cxn modelId="{08AC2416-50B9-4CE1-ADA2-13281874960F}" srcId="{BBEF1CCE-0167-473A-9AC3-94E5940B8896}" destId="{8F166523-AFAD-4288-8894-0A0B5801C784}" srcOrd="0" destOrd="0" parTransId="{94EC6A25-4CCD-4065-B7C2-1DEBC115B4D2}" sibTransId="{07D64506-6BC3-4F58-8B91-9F322DF4D1AD}"/>
    <dgm:cxn modelId="{B3BE2123-1A8E-412E-AD73-43F0F387498A}" srcId="{BBEF1CCE-0167-473A-9AC3-94E5940B8896}" destId="{5AD7562E-B1EE-44C8-AD88-718DF5364F8F}" srcOrd="2" destOrd="0" parTransId="{894377AA-D47C-4020-BDFD-26BEB30DB66A}" sibTransId="{716BDC49-848F-4015-9613-44F30E86452F}"/>
    <dgm:cxn modelId="{A5BB9128-5E38-4E43-8F39-511BC582FF89}" type="presOf" srcId="{B2A30668-F27B-4E7C-ABA3-9CC59A75C1F2}" destId="{792E36F3-0A25-4C0B-8188-9C764A02CB2C}" srcOrd="0" destOrd="0" presId="urn:microsoft.com/office/officeart/2005/8/layout/default"/>
    <dgm:cxn modelId="{65FF3C32-F326-4726-B3B2-8A5C5B33F412}" type="presOf" srcId="{BBEF1CCE-0167-473A-9AC3-94E5940B8896}" destId="{54BDEA7E-E006-4A15-B5F7-D1223ACA0B3B}" srcOrd="0" destOrd="0" presId="urn:microsoft.com/office/officeart/2005/8/layout/default"/>
    <dgm:cxn modelId="{D21E4B3E-C482-4396-A808-C0DA4781AE08}" type="presOf" srcId="{9E804A5D-459C-4C91-9686-D796E3FD52A2}" destId="{4D4BD61A-6D12-4D65-8E3E-DB55608282E9}" srcOrd="0" destOrd="0" presId="urn:microsoft.com/office/officeart/2005/8/layout/default"/>
    <dgm:cxn modelId="{CBAF4D5C-5F4E-4D1B-BBDF-891D6974841D}" srcId="{BBEF1CCE-0167-473A-9AC3-94E5940B8896}" destId="{9E804A5D-459C-4C91-9686-D796E3FD52A2}" srcOrd="1" destOrd="0" parTransId="{A28CBC4F-C32A-4144-88DF-EAF862099EB0}" sibTransId="{3090B248-0CAB-4D72-A55A-0107AB09C797}"/>
    <dgm:cxn modelId="{9E5B996F-6FE6-4FC7-BD5A-9D72CF12E4E5}" srcId="{BBEF1CCE-0167-473A-9AC3-94E5940B8896}" destId="{5E2B978C-ED61-4F59-A8B1-2E1F821166EF}" srcOrd="3" destOrd="0" parTransId="{4352B44D-E446-4423-B8EF-06D803AA5684}" sibTransId="{87212E85-46B1-4747-B855-945CE14C5FAD}"/>
    <dgm:cxn modelId="{8FDE66A4-8784-454C-A918-AB1169013FB9}" srcId="{BBEF1CCE-0167-473A-9AC3-94E5940B8896}" destId="{B2A30668-F27B-4E7C-ABA3-9CC59A75C1F2}" srcOrd="4" destOrd="0" parTransId="{5B9F5967-A367-4B39-9042-29231E719C10}" sibTransId="{713C4BAA-DEDC-4726-B838-4B6A97F985BB}"/>
    <dgm:cxn modelId="{C9CB0CE6-1997-4329-A887-856720AA7D8D}" type="presOf" srcId="{5E2B978C-ED61-4F59-A8B1-2E1F821166EF}" destId="{596A755E-6CE1-438F-8490-7EF5EE9612FD}" srcOrd="0" destOrd="0" presId="urn:microsoft.com/office/officeart/2005/8/layout/default"/>
    <dgm:cxn modelId="{C38460E6-D96E-4B06-A234-828096E870D4}" type="presOf" srcId="{8F166523-AFAD-4288-8894-0A0B5801C784}" destId="{0511F1F9-064E-4B98-AFDB-30035004FA8C}" srcOrd="0" destOrd="0" presId="urn:microsoft.com/office/officeart/2005/8/layout/default"/>
    <dgm:cxn modelId="{E4070B99-49FF-4962-AE68-9435162BDA37}" type="presParOf" srcId="{54BDEA7E-E006-4A15-B5F7-D1223ACA0B3B}" destId="{0511F1F9-064E-4B98-AFDB-30035004FA8C}" srcOrd="0" destOrd="0" presId="urn:microsoft.com/office/officeart/2005/8/layout/default"/>
    <dgm:cxn modelId="{6D75D388-E3BC-46BD-AD18-9D7E5C75CF2A}" type="presParOf" srcId="{54BDEA7E-E006-4A15-B5F7-D1223ACA0B3B}" destId="{83FC376A-A91B-42B5-8D25-6F349B71414F}" srcOrd="1" destOrd="0" presId="urn:microsoft.com/office/officeart/2005/8/layout/default"/>
    <dgm:cxn modelId="{E3E44598-A477-40E7-87A7-3D8DE94B25FB}" type="presParOf" srcId="{54BDEA7E-E006-4A15-B5F7-D1223ACA0B3B}" destId="{4D4BD61A-6D12-4D65-8E3E-DB55608282E9}" srcOrd="2" destOrd="0" presId="urn:microsoft.com/office/officeart/2005/8/layout/default"/>
    <dgm:cxn modelId="{8B2B3DE0-DDA9-433B-AD02-221DB0A77FDA}" type="presParOf" srcId="{54BDEA7E-E006-4A15-B5F7-D1223ACA0B3B}" destId="{B50C75B5-CD9C-4EF9-BEA3-60471D1AE11B}" srcOrd="3" destOrd="0" presId="urn:microsoft.com/office/officeart/2005/8/layout/default"/>
    <dgm:cxn modelId="{8FA0E5C8-0CCE-498A-8859-476AA1903166}" type="presParOf" srcId="{54BDEA7E-E006-4A15-B5F7-D1223ACA0B3B}" destId="{81C3AB76-C62D-43A2-9435-CB5CF4886CD3}" srcOrd="4" destOrd="0" presId="urn:microsoft.com/office/officeart/2005/8/layout/default"/>
    <dgm:cxn modelId="{1F147814-CE27-4420-88E4-BB0E190393CB}" type="presParOf" srcId="{54BDEA7E-E006-4A15-B5F7-D1223ACA0B3B}" destId="{991F1DB3-2367-4AE1-8B2C-0E82FB0B5BE1}" srcOrd="5" destOrd="0" presId="urn:microsoft.com/office/officeart/2005/8/layout/default"/>
    <dgm:cxn modelId="{F86C31B5-49F9-485F-B9DD-613A150FFBF3}" type="presParOf" srcId="{54BDEA7E-E006-4A15-B5F7-D1223ACA0B3B}" destId="{596A755E-6CE1-438F-8490-7EF5EE9612FD}" srcOrd="6" destOrd="0" presId="urn:microsoft.com/office/officeart/2005/8/layout/default"/>
    <dgm:cxn modelId="{1E31FA10-5CAF-4C46-A784-D0D0A82F8E5B}" type="presParOf" srcId="{54BDEA7E-E006-4A15-B5F7-D1223ACA0B3B}" destId="{C9666BE6-0E28-4000-BBCC-3E0398F05727}" srcOrd="7" destOrd="0" presId="urn:microsoft.com/office/officeart/2005/8/layout/default"/>
    <dgm:cxn modelId="{ED10B364-2B27-47D7-91A2-85A3031B792C}" type="presParOf" srcId="{54BDEA7E-E006-4A15-B5F7-D1223ACA0B3B}" destId="{792E36F3-0A25-4C0B-8188-9C764A02CB2C}"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11F1F9-064E-4B98-AFDB-30035004FA8C}">
      <dsp:nvSpPr>
        <dsp:cNvPr id="0" name=""/>
        <dsp:cNvSpPr/>
      </dsp:nvSpPr>
      <dsp:spPr>
        <a:xfrm>
          <a:off x="933677" y="1753"/>
          <a:ext cx="2108997" cy="12653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kern="1200" dirty="0"/>
            <a:t>Data interoperability</a:t>
          </a:r>
        </a:p>
      </dsp:txBody>
      <dsp:txXfrm>
        <a:off x="933677" y="1753"/>
        <a:ext cx="2108997" cy="1265398"/>
      </dsp:txXfrm>
    </dsp:sp>
    <dsp:sp modelId="{4D4BD61A-6D12-4D65-8E3E-DB55608282E9}">
      <dsp:nvSpPr>
        <dsp:cNvPr id="0" name=""/>
        <dsp:cNvSpPr/>
      </dsp:nvSpPr>
      <dsp:spPr>
        <a:xfrm>
          <a:off x="3253573" y="1753"/>
          <a:ext cx="2108997" cy="12653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kern="1200" dirty="0"/>
            <a:t>Relationships are first class citizens</a:t>
          </a:r>
        </a:p>
      </dsp:txBody>
      <dsp:txXfrm>
        <a:off x="3253573" y="1753"/>
        <a:ext cx="2108997" cy="1265398"/>
      </dsp:txXfrm>
    </dsp:sp>
    <dsp:sp modelId="{81C3AB76-C62D-43A2-9435-CB5CF4886CD3}">
      <dsp:nvSpPr>
        <dsp:cNvPr id="0" name=""/>
        <dsp:cNvSpPr/>
      </dsp:nvSpPr>
      <dsp:spPr>
        <a:xfrm>
          <a:off x="933677" y="1478051"/>
          <a:ext cx="2108997" cy="12653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kern="1200" dirty="0"/>
            <a:t>Data in graph paradigm</a:t>
          </a:r>
        </a:p>
      </dsp:txBody>
      <dsp:txXfrm>
        <a:off x="933677" y="1478051"/>
        <a:ext cx="2108997" cy="1265398"/>
      </dsp:txXfrm>
    </dsp:sp>
    <dsp:sp modelId="{596A755E-6CE1-438F-8490-7EF5EE9612FD}">
      <dsp:nvSpPr>
        <dsp:cNvPr id="0" name=""/>
        <dsp:cNvSpPr/>
      </dsp:nvSpPr>
      <dsp:spPr>
        <a:xfrm>
          <a:off x="3253573" y="1478051"/>
          <a:ext cx="2108997" cy="12653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kern="1200" dirty="0"/>
            <a:t>Model is part of the data</a:t>
          </a:r>
        </a:p>
      </dsp:txBody>
      <dsp:txXfrm>
        <a:off x="3253573" y="1478051"/>
        <a:ext cx="2108997" cy="1265398"/>
      </dsp:txXfrm>
    </dsp:sp>
    <dsp:sp modelId="{792E36F3-0A25-4C0B-8188-9C764A02CB2C}">
      <dsp:nvSpPr>
        <dsp:cNvPr id="0" name=""/>
        <dsp:cNvSpPr/>
      </dsp:nvSpPr>
      <dsp:spPr>
        <a:xfrm>
          <a:off x="2093625" y="2954349"/>
          <a:ext cx="2108997" cy="12653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kern="1200" dirty="0"/>
            <a:t>Reuse of URIs and semantics</a:t>
          </a:r>
        </a:p>
      </dsp:txBody>
      <dsp:txXfrm>
        <a:off x="2093625" y="2954349"/>
        <a:ext cx="2108997" cy="126539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8/09/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8/09/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122576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Ontologies using OWL and SHACL |  Amir Westhoff |  September 2024</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medium.com/wallscope/understanding-linked-data-formats-rdf-xml-vs-turtle-vs-n-triples-eb931dbe9827" TargetMode="Externa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medium.com/wallscope/understanding-linked-data-formats-rdf-xml-vs-turtle-vs-n-triples-eb931dbe9827" TargetMode="External"/><Relationship Id="rId1" Type="http://schemas.openxmlformats.org/officeDocument/2006/relationships/slideLayout" Target="../slideLayouts/slideLayout35.xml"/><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8" Type="http://schemas.openxmlformats.org/officeDocument/2006/relationships/hyperlink" Target="https://www.capgemini.com/" TargetMode="External"/><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hyperlink" Target="https://www.jumbo.com/" TargetMode="External"/><Relationship Id="rId1" Type="http://schemas.openxmlformats.org/officeDocument/2006/relationships/slideLayout" Target="../slideLayouts/slideLayout36.xml"/><Relationship Id="rId6" Type="http://schemas.openxmlformats.org/officeDocument/2006/relationships/hyperlink" Target="https://www.ticketmaster.nl/" TargetMode="External"/><Relationship Id="rId5" Type="http://schemas.openxmlformats.org/officeDocument/2006/relationships/image" Target="../media/image26.png"/><Relationship Id="rId4" Type="http://schemas.openxmlformats.org/officeDocument/2006/relationships/hyperlink" Target="https://www.ah.nl/" TargetMode="External"/><Relationship Id="rId9"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hyperlink" Target="https://www.w3.org/wiki/LinkedData" TargetMode="External"/><Relationship Id="rId2" Type="http://schemas.openxmlformats.org/officeDocument/2006/relationships/hyperlink" Target="https://5stardata.info/en/" TargetMode="External"/><Relationship Id="rId1" Type="http://schemas.openxmlformats.org/officeDocument/2006/relationships/slideLayout" Target="../slideLayouts/slideLayout36.xml"/><Relationship Id="rId4" Type="http://schemas.openxmlformats.org/officeDocument/2006/relationships/hyperlink" Target="https://www.w3.org/TR/turtl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6.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6.png"/><Relationship Id="rId2" Type="http://schemas.openxmlformats.org/officeDocument/2006/relationships/hyperlink" Target="https://www.google.com/url?sa=i&amp;url=https%3A%2F%2Fwww.geeksforgeeks.org%2Ftypes-of-sets-in-set-theory%2F&amp;psig=AOvVaw1V11z4iiH7ht_fbRWYwdHb&amp;ust=1726770495688000&amp;source=images&amp;cd=vfe&amp;opi=89978449&amp;ved=0CBgQ3YkBahcKEwjIi-7Ej82IAxUAAAAAHQAAAAAQLg" TargetMode="External"/><Relationship Id="rId1" Type="http://schemas.openxmlformats.org/officeDocument/2006/relationships/slideLayout" Target="../slideLayouts/slideLayout36.xml"/><Relationship Id="rId6" Type="http://schemas.openxmlformats.org/officeDocument/2006/relationships/hyperlink" Target="https://www.google.com/url?sa=i&amp;url=https%3A%2F%2Fwww.geeksforgeeks.org%2Fset-theory%2F&amp;psig=AOvVaw1V11z4iiH7ht_fbRWYwdHb&amp;ust=1726770495688000&amp;source=images&amp;cd=vfe&amp;opi=89978449&amp;ved=0CBgQ3YkBahcKEwjIi-7Ej82IAxUAAAAAHQAAAAAQJw" TargetMode="External"/><Relationship Id="rId5" Type="http://schemas.openxmlformats.org/officeDocument/2006/relationships/image" Target="../media/image35.png"/><Relationship Id="rId4" Type="http://schemas.openxmlformats.org/officeDocument/2006/relationships/hyperlink" Target="http://www2003.sztaki.hu/cdrom/papers/refereed/p117/p117-grosof.html"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slideserve.com/nike/imat3406-fuzzy-logic-and-knowledge-based-systems-ai" TargetMode="Externa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6.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1.xml"/><Relationship Id="rId5" Type="http://schemas.openxmlformats.org/officeDocument/2006/relationships/slideLayout" Target="../slideLayouts/slideLayout19.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6.xml"/><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6.xml"/><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link.springer.com/book/10.1007/978-3-030-98636-0" TargetMode="External"/><Relationship Id="rId1" Type="http://schemas.openxmlformats.org/officeDocument/2006/relationships/slideLayout" Target="../slideLayouts/slideLayout36.xml"/><Relationship Id="rId4" Type="http://schemas.openxmlformats.org/officeDocument/2006/relationships/image" Target="../media/image54.png"/></Relationships>
</file>

<file path=ppt/slides/_rels/slide35.xml.rels><?xml version="1.0" encoding="UTF-8" standalone="yes"?>
<Relationships xmlns="http://schemas.openxmlformats.org/package/2006/relationships"><Relationship Id="rId8" Type="http://schemas.openxmlformats.org/officeDocument/2006/relationships/hyperlink" Target="https://medium.com/@nfigay/do-you-know-what-upper-ontologies-are-and-the-value-it-brings-october-2021-5f43ee5b1553" TargetMode="External"/><Relationship Id="rId3" Type="http://schemas.openxmlformats.org/officeDocument/2006/relationships/hyperlink" Target="https://medium.com/the-semantic-data-practitioner/diving-into-the-deep-end-of-rdf-owl-shacl-and-sparql-vs-terminusdb-data-products-9fe26bddab33" TargetMode="External"/><Relationship Id="rId7" Type="http://schemas.openxmlformats.org/officeDocument/2006/relationships/hyperlink" Target="https://legacy.triply.cc/blog/2021-08-why-we-use-owl/" TargetMode="External"/><Relationship Id="rId2" Type="http://schemas.openxmlformats.org/officeDocument/2006/relationships/hyperlink" Target="https://spinrdf.org/shacl-and-owl.html" TargetMode="External"/><Relationship Id="rId1" Type="http://schemas.openxmlformats.org/officeDocument/2006/relationships/slideLayout" Target="../slideLayouts/slideLayout36.xml"/><Relationship Id="rId6" Type="http://schemas.openxmlformats.org/officeDocument/2006/relationships/hyperlink" Target="https://www.bobdc.com/blog/dontneedowl/" TargetMode="External"/><Relationship Id="rId5" Type="http://schemas.openxmlformats.org/officeDocument/2006/relationships/hyperlink" Target="https://www.ontotext.com/knowledgehub/fundamentals/what-is-shacl/" TargetMode="External"/><Relationship Id="rId4" Type="http://schemas.openxmlformats.org/officeDocument/2006/relationships/hyperlink" Target="https://medium.com/fluree/what-is-shacl-with-examples-2697f659d465"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hyperlink" Target="https://www.michaeldebellis.com/post/new-protege-pizza-tutorial" TargetMode="Externa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protegeproject.github.io/protege/class-expression-syntax/" TargetMode="External"/><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hyperlink" Target="https://drive.google.com/file/d/1A3Y8T6nIfXQ_UQOpCAr_HFSCwpTqELeP/view" TargetMode="External"/><Relationship Id="rId2" Type="http://schemas.openxmlformats.org/officeDocument/2006/relationships/hyperlink" Target="https://www.michaeldebellis.com/post/new-protege-pizza-tutorial" TargetMode="External"/><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book.validatingrdf.com/" TargetMode="Externa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openxmlformats.org/officeDocument/2006/relationships/hyperlink" Target="https://book.validatingrdf.com/" TargetMode="External"/><Relationship Id="rId2" Type="http://schemas.openxmlformats.org/officeDocument/2006/relationships/hyperlink" Target="https://www.w3.org/TR/shacl/" TargetMode="External"/><Relationship Id="rId1" Type="http://schemas.openxmlformats.org/officeDocument/2006/relationships/slideLayout" Target="../slideLayouts/slideLayout36.xml"/><Relationship Id="rId4" Type="http://schemas.openxmlformats.org/officeDocument/2006/relationships/hyperlink" Target="https://medium.com/fluree/what-is-shacl-with-examples-2697f659d465"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hyperlink" Target="https://unsplash.com/photos/asphalt-road-JLIdRafL03A" TargetMode="Externa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hyperlink" Target="https://unsplash.com/photos/brown-and-black-short-coated-small-dog-with-white-long-coat-small-dog-on-gray-concrete-NIKl5WwL-RE?utm_content=creditShareLink&amp;utm_medium=referral&amp;utm_source=unsplash" TargetMode="Externa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s://en.wikipedia.org/wiki/Tim_Berners-Lee" TargetMode="External"/><Relationship Id="rId1" Type="http://schemas.openxmlformats.org/officeDocument/2006/relationships/slideLayout" Target="../slideLayouts/slideLayout35.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D871570-FBB8-F282-1B97-65C16AE6C6F4}"/>
              </a:ext>
            </a:extLst>
          </p:cNvPr>
          <p:cNvSpPr>
            <a:spLocks noGrp="1"/>
          </p:cNvSpPr>
          <p:nvPr>
            <p:ph type="ctrTitle"/>
          </p:nvPr>
        </p:nvSpPr>
        <p:spPr/>
        <p:txBody>
          <a:bodyPr/>
          <a:lstStyle/>
          <a:p>
            <a:r>
              <a:rPr lang="en-US" dirty="0"/>
              <a:t>Ontologies using OWL and SHACL</a:t>
            </a:r>
          </a:p>
        </p:txBody>
      </p:sp>
      <p:sp>
        <p:nvSpPr>
          <p:cNvPr id="2" name="Sous-titre 1">
            <a:extLst>
              <a:ext uri="{FF2B5EF4-FFF2-40B4-BE49-F238E27FC236}">
                <a16:creationId xmlns:a16="http://schemas.microsoft.com/office/drawing/2014/main" id="{4F18DD32-924E-CE9C-91B0-4F30CCE1B6F9}"/>
              </a:ext>
            </a:extLst>
          </p:cNvPr>
          <p:cNvSpPr>
            <a:spLocks noGrp="1"/>
          </p:cNvSpPr>
          <p:nvPr>
            <p:ph type="subTitle" idx="1"/>
          </p:nvPr>
        </p:nvSpPr>
        <p:spPr/>
        <p:txBody>
          <a:bodyPr/>
          <a:lstStyle/>
          <a:p>
            <a:r>
              <a:rPr lang="en-US" dirty="0"/>
              <a:t>Capgemini Academy</a:t>
            </a:r>
          </a:p>
        </p:txBody>
      </p:sp>
      <p:sp>
        <p:nvSpPr>
          <p:cNvPr id="6" name="ZoneTexte 5">
            <a:extLst>
              <a:ext uri="{FF2B5EF4-FFF2-40B4-BE49-F238E27FC236}">
                <a16:creationId xmlns:a16="http://schemas.microsoft.com/office/drawing/2014/main" id="{192A5D77-C005-A59E-F201-CA5F0881209D}"/>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10918892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EF583C-3A7B-0802-A2FC-CE669D27756E}"/>
              </a:ext>
            </a:extLst>
          </p:cNvPr>
          <p:cNvSpPr>
            <a:spLocks noGrp="1"/>
          </p:cNvSpPr>
          <p:nvPr>
            <p:ph type="body" sz="quarter" idx="15"/>
          </p:nvPr>
        </p:nvSpPr>
        <p:spPr/>
        <p:txBody>
          <a:bodyPr/>
          <a:lstStyle/>
          <a:p>
            <a:r>
              <a:rPr lang="nl-NL" dirty="0"/>
              <a:t>Tabular data vs Linked Data/RDF</a:t>
            </a:r>
          </a:p>
        </p:txBody>
      </p:sp>
      <p:sp>
        <p:nvSpPr>
          <p:cNvPr id="3" name="Title 2">
            <a:extLst>
              <a:ext uri="{FF2B5EF4-FFF2-40B4-BE49-F238E27FC236}">
                <a16:creationId xmlns:a16="http://schemas.microsoft.com/office/drawing/2014/main" id="{041673D5-5A25-C1ED-8668-1C138DD23038}"/>
              </a:ext>
            </a:extLst>
          </p:cNvPr>
          <p:cNvSpPr>
            <a:spLocks noGrp="1"/>
          </p:cNvSpPr>
          <p:nvPr>
            <p:ph type="title"/>
          </p:nvPr>
        </p:nvSpPr>
        <p:spPr/>
        <p:txBody>
          <a:bodyPr/>
          <a:lstStyle/>
          <a:p>
            <a:r>
              <a:rPr lang="nl-NL" dirty="0"/>
              <a:t>Linked Data 101</a:t>
            </a:r>
          </a:p>
        </p:txBody>
      </p:sp>
      <p:pic>
        <p:nvPicPr>
          <p:cNvPr id="5" name="Picture 4">
            <a:extLst>
              <a:ext uri="{FF2B5EF4-FFF2-40B4-BE49-F238E27FC236}">
                <a16:creationId xmlns:a16="http://schemas.microsoft.com/office/drawing/2014/main" id="{169F4346-F320-C984-B795-D9AC4948FF11}"/>
              </a:ext>
            </a:extLst>
          </p:cNvPr>
          <p:cNvPicPr>
            <a:picLocks noChangeAspect="1"/>
          </p:cNvPicPr>
          <p:nvPr/>
        </p:nvPicPr>
        <p:blipFill>
          <a:blip r:embed="rId2"/>
          <a:stretch>
            <a:fillRect/>
          </a:stretch>
        </p:blipFill>
        <p:spPr>
          <a:xfrm>
            <a:off x="1110729" y="1671396"/>
            <a:ext cx="9970541" cy="4632539"/>
          </a:xfrm>
          <a:prstGeom prst="rect">
            <a:avLst/>
          </a:prstGeom>
        </p:spPr>
      </p:pic>
      <p:sp>
        <p:nvSpPr>
          <p:cNvPr id="6" name="TextBox 5">
            <a:extLst>
              <a:ext uri="{FF2B5EF4-FFF2-40B4-BE49-F238E27FC236}">
                <a16:creationId xmlns:a16="http://schemas.microsoft.com/office/drawing/2014/main" id="{59E04D94-04AF-41C0-1002-FF4C1A9276DA}"/>
              </a:ext>
            </a:extLst>
          </p:cNvPr>
          <p:cNvSpPr txBox="1"/>
          <p:nvPr/>
        </p:nvSpPr>
        <p:spPr>
          <a:xfrm>
            <a:off x="5890441" y="3897419"/>
            <a:ext cx="1056997" cy="433068"/>
          </a:xfrm>
          <a:prstGeom prst="rect">
            <a:avLst/>
          </a:prstGeom>
          <a:noFill/>
        </p:spPr>
        <p:txBody>
          <a:bodyPr vert="horz" wrap="none" lIns="90000" tIns="46800" rIns="90000" bIns="46800" rtlCol="0" anchor="ctr">
            <a:spAutoFit/>
          </a:bodyPr>
          <a:lstStyle/>
          <a:p>
            <a:pPr algn="l">
              <a:spcBef>
                <a:spcPct val="0"/>
              </a:spcBef>
            </a:pPr>
            <a:r>
              <a:rPr lang="nl-NL" sz="1100" dirty="0">
                <a:highlight>
                  <a:srgbClr val="00FF00"/>
                </a:highlight>
              </a:rPr>
              <a:t>HTTP-URIs as </a:t>
            </a:r>
            <a:br>
              <a:rPr lang="nl-NL" sz="1100" dirty="0">
                <a:highlight>
                  <a:srgbClr val="00FF00"/>
                </a:highlight>
              </a:rPr>
            </a:br>
            <a:r>
              <a:rPr lang="nl-NL" sz="1100" dirty="0">
                <a:highlight>
                  <a:srgbClr val="00FF00"/>
                </a:highlight>
              </a:rPr>
              <a:t>identifiers</a:t>
            </a:r>
          </a:p>
        </p:txBody>
      </p:sp>
      <p:sp>
        <p:nvSpPr>
          <p:cNvPr id="7" name="TextBox 6">
            <a:extLst>
              <a:ext uri="{FF2B5EF4-FFF2-40B4-BE49-F238E27FC236}">
                <a16:creationId xmlns:a16="http://schemas.microsoft.com/office/drawing/2014/main" id="{03443A7C-CC4C-C446-326E-987F21632D90}"/>
              </a:ext>
            </a:extLst>
          </p:cNvPr>
          <p:cNvSpPr txBox="1"/>
          <p:nvPr/>
        </p:nvSpPr>
        <p:spPr>
          <a:xfrm>
            <a:off x="7968208" y="5301208"/>
            <a:ext cx="1073027" cy="602345"/>
          </a:xfrm>
          <a:prstGeom prst="rect">
            <a:avLst/>
          </a:prstGeom>
          <a:noFill/>
        </p:spPr>
        <p:txBody>
          <a:bodyPr vert="horz" wrap="none" lIns="90000" tIns="46800" rIns="90000" bIns="46800" rtlCol="0" anchor="ctr">
            <a:spAutoFit/>
          </a:bodyPr>
          <a:lstStyle/>
          <a:p>
            <a:pPr algn="l">
              <a:spcBef>
                <a:spcPct val="0"/>
              </a:spcBef>
            </a:pPr>
            <a:r>
              <a:rPr lang="nl-NL" sz="1100" dirty="0">
                <a:highlight>
                  <a:srgbClr val="00FF00"/>
                </a:highlight>
              </a:rPr>
              <a:t>Relationships </a:t>
            </a:r>
            <a:br>
              <a:rPr lang="nl-NL" sz="1100" dirty="0">
                <a:highlight>
                  <a:srgbClr val="00FF00"/>
                </a:highlight>
              </a:rPr>
            </a:br>
            <a:r>
              <a:rPr lang="nl-NL" sz="1100" dirty="0">
                <a:highlight>
                  <a:srgbClr val="00FF00"/>
                </a:highlight>
              </a:rPr>
              <a:t>also have </a:t>
            </a:r>
            <a:br>
              <a:rPr lang="nl-NL" sz="1100" dirty="0">
                <a:highlight>
                  <a:srgbClr val="00FF00"/>
                </a:highlight>
              </a:rPr>
            </a:br>
            <a:r>
              <a:rPr lang="nl-NL" sz="1100" dirty="0">
                <a:highlight>
                  <a:srgbClr val="00FF00"/>
                </a:highlight>
              </a:rPr>
              <a:t>identity</a:t>
            </a:r>
          </a:p>
        </p:txBody>
      </p:sp>
      <p:sp>
        <p:nvSpPr>
          <p:cNvPr id="8" name="TextBox 7">
            <a:extLst>
              <a:ext uri="{FF2B5EF4-FFF2-40B4-BE49-F238E27FC236}">
                <a16:creationId xmlns:a16="http://schemas.microsoft.com/office/drawing/2014/main" id="{B13CCFFB-19F1-1EBB-31FD-6C8A50695581}"/>
              </a:ext>
            </a:extLst>
          </p:cNvPr>
          <p:cNvSpPr txBox="1"/>
          <p:nvPr/>
        </p:nvSpPr>
        <p:spPr>
          <a:xfrm>
            <a:off x="7548464" y="4113953"/>
            <a:ext cx="1456146" cy="433068"/>
          </a:xfrm>
          <a:prstGeom prst="rect">
            <a:avLst/>
          </a:prstGeom>
          <a:noFill/>
        </p:spPr>
        <p:txBody>
          <a:bodyPr vert="horz" wrap="none" lIns="90000" tIns="46800" rIns="90000" bIns="46800" rtlCol="0" anchor="ctr">
            <a:spAutoFit/>
          </a:bodyPr>
          <a:lstStyle/>
          <a:p>
            <a:pPr algn="l">
              <a:spcBef>
                <a:spcPct val="0"/>
              </a:spcBef>
            </a:pPr>
            <a:r>
              <a:rPr lang="nl-NL" sz="1100" dirty="0">
                <a:highlight>
                  <a:srgbClr val="00FF00"/>
                </a:highlight>
              </a:rPr>
              <a:t>(Explicit) Semantics </a:t>
            </a:r>
            <a:br>
              <a:rPr lang="nl-NL" sz="1100" dirty="0">
                <a:highlight>
                  <a:srgbClr val="00FF00"/>
                </a:highlight>
              </a:rPr>
            </a:br>
            <a:r>
              <a:rPr lang="nl-NL" sz="1100" dirty="0">
                <a:highlight>
                  <a:srgbClr val="00FF00"/>
                </a:highlight>
              </a:rPr>
              <a:t>can be reused</a:t>
            </a:r>
          </a:p>
        </p:txBody>
      </p:sp>
      <p:sp>
        <p:nvSpPr>
          <p:cNvPr id="9" name="TextBox 8">
            <a:extLst>
              <a:ext uri="{FF2B5EF4-FFF2-40B4-BE49-F238E27FC236}">
                <a16:creationId xmlns:a16="http://schemas.microsoft.com/office/drawing/2014/main" id="{01D76A22-34E6-C518-BD6F-BFA7DF918BE6}"/>
              </a:ext>
            </a:extLst>
          </p:cNvPr>
          <p:cNvSpPr txBox="1"/>
          <p:nvPr/>
        </p:nvSpPr>
        <p:spPr>
          <a:xfrm>
            <a:off x="9041235" y="5839952"/>
            <a:ext cx="1786364" cy="263791"/>
          </a:xfrm>
          <a:prstGeom prst="rect">
            <a:avLst/>
          </a:prstGeom>
          <a:noFill/>
        </p:spPr>
        <p:txBody>
          <a:bodyPr vert="horz" wrap="none" lIns="90000" tIns="46800" rIns="90000" bIns="46800" rtlCol="0" anchor="ctr">
            <a:spAutoFit/>
          </a:bodyPr>
          <a:lstStyle/>
          <a:p>
            <a:pPr algn="l">
              <a:spcBef>
                <a:spcPct val="0"/>
              </a:spcBef>
            </a:pPr>
            <a:r>
              <a:rPr lang="nl-NL" sz="1100" dirty="0">
                <a:highlight>
                  <a:srgbClr val="00FF00"/>
                </a:highlight>
              </a:rPr>
              <a:t>Data in a graph paradigm</a:t>
            </a:r>
          </a:p>
        </p:txBody>
      </p:sp>
      <p:sp>
        <p:nvSpPr>
          <p:cNvPr id="10" name="TextBox 9">
            <a:extLst>
              <a:ext uri="{FF2B5EF4-FFF2-40B4-BE49-F238E27FC236}">
                <a16:creationId xmlns:a16="http://schemas.microsoft.com/office/drawing/2014/main" id="{809565CE-3029-936F-44BD-828DA479F5B8}"/>
              </a:ext>
            </a:extLst>
          </p:cNvPr>
          <p:cNvSpPr txBox="1"/>
          <p:nvPr/>
        </p:nvSpPr>
        <p:spPr>
          <a:xfrm>
            <a:off x="3503712" y="3723875"/>
            <a:ext cx="1326302" cy="263791"/>
          </a:xfrm>
          <a:prstGeom prst="rect">
            <a:avLst/>
          </a:prstGeom>
          <a:noFill/>
        </p:spPr>
        <p:txBody>
          <a:bodyPr vert="horz" wrap="none" lIns="90000" tIns="46800" rIns="90000" bIns="46800" rtlCol="0" anchor="ctr">
            <a:spAutoFit/>
          </a:bodyPr>
          <a:lstStyle/>
          <a:p>
            <a:pPr algn="l">
              <a:spcBef>
                <a:spcPct val="0"/>
              </a:spcBef>
            </a:pPr>
            <a:r>
              <a:rPr lang="nl-NL" sz="1100" dirty="0">
                <a:highlight>
                  <a:srgbClr val="C0C0C0"/>
                </a:highlight>
              </a:rPr>
              <a:t>Implicit semantics</a:t>
            </a:r>
          </a:p>
        </p:txBody>
      </p:sp>
    </p:spTree>
    <p:extLst>
      <p:ext uri="{BB962C8B-B14F-4D97-AF65-F5344CB8AC3E}">
        <p14:creationId xmlns:p14="http://schemas.microsoft.com/office/powerpoint/2010/main" val="4277312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Five take-aways</a:t>
            </a:r>
          </a:p>
        </p:txBody>
      </p:sp>
      <p:graphicFrame>
        <p:nvGraphicFramePr>
          <p:cNvPr id="4" name="Diagram 3">
            <a:extLst>
              <a:ext uri="{FF2B5EF4-FFF2-40B4-BE49-F238E27FC236}">
                <a16:creationId xmlns:a16="http://schemas.microsoft.com/office/drawing/2014/main" id="{B4833AC1-E636-3168-6486-4547AEBBD43A}"/>
              </a:ext>
            </a:extLst>
          </p:cNvPr>
          <p:cNvGraphicFramePr/>
          <p:nvPr/>
        </p:nvGraphicFramePr>
        <p:xfrm>
          <a:off x="2771053" y="1628800"/>
          <a:ext cx="6296248" cy="42215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5A3653A4-33E7-1C4E-85CF-0BB194829326}"/>
              </a:ext>
            </a:extLst>
          </p:cNvPr>
          <p:cNvSpPr txBox="1"/>
          <p:nvPr/>
        </p:nvSpPr>
        <p:spPr>
          <a:xfrm>
            <a:off x="335360" y="2204864"/>
            <a:ext cx="2810683" cy="525401"/>
          </a:xfrm>
          <a:prstGeom prst="rect">
            <a:avLst/>
          </a:prstGeom>
          <a:noFill/>
        </p:spPr>
        <p:txBody>
          <a:bodyPr vert="horz" wrap="none" lIns="90000" tIns="46800" rIns="90000" bIns="46800" rtlCol="0" anchor="ctr">
            <a:spAutoFit/>
          </a:bodyPr>
          <a:lstStyle/>
          <a:p>
            <a:pPr algn="l">
              <a:spcBef>
                <a:spcPct val="0"/>
              </a:spcBef>
            </a:pPr>
            <a:r>
              <a:rPr lang="nl-NL" sz="1400" dirty="0">
                <a:solidFill>
                  <a:schemeClr val="bg1">
                    <a:lumMod val="50000"/>
                  </a:schemeClr>
                </a:solidFill>
              </a:rPr>
              <a:t>RDF triples allow easy merging </a:t>
            </a:r>
            <a:br>
              <a:rPr lang="nl-NL" sz="1400" dirty="0">
                <a:solidFill>
                  <a:schemeClr val="bg1">
                    <a:lumMod val="50000"/>
                  </a:schemeClr>
                </a:solidFill>
              </a:rPr>
            </a:br>
            <a:r>
              <a:rPr lang="nl-NL" sz="1400" dirty="0">
                <a:solidFill>
                  <a:schemeClr val="bg1">
                    <a:lumMod val="50000"/>
                  </a:schemeClr>
                </a:solidFill>
              </a:rPr>
              <a:t>of data</a:t>
            </a:r>
          </a:p>
        </p:txBody>
      </p:sp>
      <p:sp>
        <p:nvSpPr>
          <p:cNvPr id="6" name="TextBox 5">
            <a:extLst>
              <a:ext uri="{FF2B5EF4-FFF2-40B4-BE49-F238E27FC236}">
                <a16:creationId xmlns:a16="http://schemas.microsoft.com/office/drawing/2014/main" id="{FF44BA9A-4045-EF8E-A48F-B51C518EFD60}"/>
              </a:ext>
            </a:extLst>
          </p:cNvPr>
          <p:cNvSpPr txBox="1"/>
          <p:nvPr/>
        </p:nvSpPr>
        <p:spPr>
          <a:xfrm>
            <a:off x="9000897" y="2204863"/>
            <a:ext cx="2821904" cy="525401"/>
          </a:xfrm>
          <a:prstGeom prst="rect">
            <a:avLst/>
          </a:prstGeom>
          <a:noFill/>
        </p:spPr>
        <p:txBody>
          <a:bodyPr vert="horz" wrap="none" lIns="90000" tIns="46800" rIns="90000" bIns="46800" rtlCol="0" anchor="ctr">
            <a:spAutoFit/>
          </a:bodyPr>
          <a:lstStyle/>
          <a:p>
            <a:pPr algn="l">
              <a:spcBef>
                <a:spcPct val="0"/>
              </a:spcBef>
            </a:pPr>
            <a:r>
              <a:rPr lang="nl-NL" sz="1400" dirty="0">
                <a:solidFill>
                  <a:schemeClr val="bg1">
                    <a:lumMod val="50000"/>
                  </a:schemeClr>
                </a:solidFill>
              </a:rPr>
              <a:t>Relationships can be annotated, </a:t>
            </a:r>
            <a:br>
              <a:rPr lang="nl-NL" sz="1400" dirty="0">
                <a:solidFill>
                  <a:schemeClr val="bg1">
                    <a:lumMod val="50000"/>
                  </a:schemeClr>
                </a:solidFill>
              </a:rPr>
            </a:br>
            <a:r>
              <a:rPr lang="nl-NL" sz="1400" dirty="0">
                <a:solidFill>
                  <a:schemeClr val="bg1">
                    <a:lumMod val="50000"/>
                  </a:schemeClr>
                </a:solidFill>
              </a:rPr>
              <a:t>have subproperties, etc.</a:t>
            </a:r>
          </a:p>
        </p:txBody>
      </p:sp>
      <p:sp>
        <p:nvSpPr>
          <p:cNvPr id="7" name="TextBox 6">
            <a:extLst>
              <a:ext uri="{FF2B5EF4-FFF2-40B4-BE49-F238E27FC236}">
                <a16:creationId xmlns:a16="http://schemas.microsoft.com/office/drawing/2014/main" id="{2ACB097D-73B2-DC34-16E2-B33E07789476}"/>
              </a:ext>
            </a:extLst>
          </p:cNvPr>
          <p:cNvSpPr txBox="1"/>
          <p:nvPr/>
        </p:nvSpPr>
        <p:spPr>
          <a:xfrm>
            <a:off x="9067301" y="3620266"/>
            <a:ext cx="2969380" cy="740845"/>
          </a:xfrm>
          <a:prstGeom prst="rect">
            <a:avLst/>
          </a:prstGeom>
          <a:noFill/>
        </p:spPr>
        <p:txBody>
          <a:bodyPr vert="horz" wrap="none" lIns="90000" tIns="46800" rIns="90000" bIns="46800" rtlCol="0" anchor="ctr">
            <a:spAutoFit/>
          </a:bodyPr>
          <a:lstStyle/>
          <a:p>
            <a:pPr algn="l">
              <a:spcBef>
                <a:spcPct val="0"/>
              </a:spcBef>
            </a:pPr>
            <a:r>
              <a:rPr lang="nl-NL" sz="1400" dirty="0">
                <a:solidFill>
                  <a:schemeClr val="bg1">
                    <a:lumMod val="50000"/>
                  </a:schemeClr>
                </a:solidFill>
              </a:rPr>
              <a:t>Model elements are thus available</a:t>
            </a:r>
          </a:p>
          <a:p>
            <a:pPr algn="l">
              <a:spcBef>
                <a:spcPct val="0"/>
              </a:spcBef>
            </a:pPr>
            <a:r>
              <a:rPr lang="nl-NL" sz="1400" dirty="0">
                <a:solidFill>
                  <a:schemeClr val="bg1">
                    <a:lumMod val="50000"/>
                  </a:schemeClr>
                </a:solidFill>
              </a:rPr>
              <a:t>for analysis, querying, and </a:t>
            </a:r>
            <a:br>
              <a:rPr lang="nl-NL" sz="1400" dirty="0">
                <a:solidFill>
                  <a:schemeClr val="bg1">
                    <a:lumMod val="50000"/>
                  </a:schemeClr>
                </a:solidFill>
              </a:rPr>
            </a:br>
            <a:r>
              <a:rPr lang="nl-NL" sz="1400" dirty="0">
                <a:solidFill>
                  <a:schemeClr val="bg1">
                    <a:lumMod val="50000"/>
                  </a:schemeClr>
                </a:solidFill>
              </a:rPr>
              <a:t>advanced capabilities</a:t>
            </a:r>
          </a:p>
        </p:txBody>
      </p:sp>
      <p:sp>
        <p:nvSpPr>
          <p:cNvPr id="8" name="TextBox 7">
            <a:extLst>
              <a:ext uri="{FF2B5EF4-FFF2-40B4-BE49-F238E27FC236}">
                <a16:creationId xmlns:a16="http://schemas.microsoft.com/office/drawing/2014/main" id="{C2FDE0C2-5B47-FA8B-BE34-A67699EE7E61}"/>
              </a:ext>
            </a:extLst>
          </p:cNvPr>
          <p:cNvSpPr txBox="1"/>
          <p:nvPr/>
        </p:nvSpPr>
        <p:spPr>
          <a:xfrm>
            <a:off x="414971" y="3769976"/>
            <a:ext cx="3036707" cy="740845"/>
          </a:xfrm>
          <a:prstGeom prst="rect">
            <a:avLst/>
          </a:prstGeom>
          <a:noFill/>
        </p:spPr>
        <p:txBody>
          <a:bodyPr vert="horz" wrap="none" lIns="90000" tIns="46800" rIns="90000" bIns="46800" rtlCol="0" anchor="ctr">
            <a:spAutoFit/>
          </a:bodyPr>
          <a:lstStyle/>
          <a:p>
            <a:pPr algn="l">
              <a:spcBef>
                <a:spcPct val="0"/>
              </a:spcBef>
            </a:pPr>
            <a:r>
              <a:rPr lang="nl-NL" sz="1400" dirty="0">
                <a:solidFill>
                  <a:schemeClr val="bg1">
                    <a:lumMod val="50000"/>
                  </a:schemeClr>
                </a:solidFill>
              </a:rPr>
              <a:t>Operations that draw from </a:t>
            </a:r>
            <a:br>
              <a:rPr lang="nl-NL" sz="1400" dirty="0">
                <a:solidFill>
                  <a:schemeClr val="bg1">
                    <a:lumMod val="50000"/>
                  </a:schemeClr>
                </a:solidFill>
              </a:rPr>
            </a:br>
            <a:r>
              <a:rPr lang="nl-NL" sz="1400" dirty="0">
                <a:solidFill>
                  <a:schemeClr val="bg1">
                    <a:lumMod val="50000"/>
                  </a:schemeClr>
                </a:solidFill>
              </a:rPr>
              <a:t>graph theory are performed easier </a:t>
            </a:r>
            <a:br>
              <a:rPr lang="nl-NL" sz="1400" dirty="0">
                <a:solidFill>
                  <a:schemeClr val="bg1">
                    <a:lumMod val="50000"/>
                  </a:schemeClr>
                </a:solidFill>
              </a:rPr>
            </a:br>
            <a:r>
              <a:rPr lang="nl-NL" sz="1400" dirty="0">
                <a:solidFill>
                  <a:schemeClr val="bg1">
                    <a:lumMod val="50000"/>
                  </a:schemeClr>
                </a:solidFill>
              </a:rPr>
              <a:t>than with tables</a:t>
            </a:r>
          </a:p>
        </p:txBody>
      </p:sp>
      <p:sp>
        <p:nvSpPr>
          <p:cNvPr id="9" name="TextBox 8">
            <a:extLst>
              <a:ext uri="{FF2B5EF4-FFF2-40B4-BE49-F238E27FC236}">
                <a16:creationId xmlns:a16="http://schemas.microsoft.com/office/drawing/2014/main" id="{2053CCAD-CB76-16BD-4DDF-18C3BBF8E0D7}"/>
              </a:ext>
            </a:extLst>
          </p:cNvPr>
          <p:cNvSpPr txBox="1"/>
          <p:nvPr/>
        </p:nvSpPr>
        <p:spPr>
          <a:xfrm>
            <a:off x="1127448" y="5844641"/>
            <a:ext cx="3512798" cy="525401"/>
          </a:xfrm>
          <a:prstGeom prst="rect">
            <a:avLst/>
          </a:prstGeom>
          <a:noFill/>
        </p:spPr>
        <p:txBody>
          <a:bodyPr vert="horz" wrap="none" lIns="90000" tIns="46800" rIns="90000" bIns="46800" rtlCol="0" anchor="ctr">
            <a:spAutoFit/>
          </a:bodyPr>
          <a:lstStyle/>
          <a:p>
            <a:pPr algn="l">
              <a:spcBef>
                <a:spcPct val="0"/>
              </a:spcBef>
            </a:pPr>
            <a:r>
              <a:rPr lang="nl-NL" sz="1400" dirty="0">
                <a:solidFill>
                  <a:schemeClr val="bg1">
                    <a:lumMod val="50000"/>
                  </a:schemeClr>
                </a:solidFill>
              </a:rPr>
              <a:t>By reusing HTTP-URIs from other parties,</a:t>
            </a:r>
          </a:p>
          <a:p>
            <a:pPr algn="l">
              <a:spcBef>
                <a:spcPct val="0"/>
              </a:spcBef>
            </a:pPr>
            <a:r>
              <a:rPr lang="nl-NL" sz="1400" dirty="0">
                <a:solidFill>
                  <a:schemeClr val="bg1">
                    <a:lumMod val="50000"/>
                  </a:schemeClr>
                </a:solidFill>
              </a:rPr>
              <a:t>semantics are also reused</a:t>
            </a:r>
          </a:p>
        </p:txBody>
      </p:sp>
      <p:cxnSp>
        <p:nvCxnSpPr>
          <p:cNvPr id="11" name="Straight Connector 10">
            <a:extLst>
              <a:ext uri="{FF2B5EF4-FFF2-40B4-BE49-F238E27FC236}">
                <a16:creationId xmlns:a16="http://schemas.microsoft.com/office/drawing/2014/main" id="{808ED75D-0CD5-F867-B89E-BDF9047F57BD}"/>
              </a:ext>
            </a:extLst>
          </p:cNvPr>
          <p:cNvCxnSpPr>
            <a:cxnSpLocks/>
          </p:cNvCxnSpPr>
          <p:nvPr/>
        </p:nvCxnSpPr>
        <p:spPr>
          <a:xfrm flipV="1">
            <a:off x="3135801" y="2306988"/>
            <a:ext cx="357669" cy="56095"/>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D916D54-3CE8-3D75-ADFC-D03EC8F24D23}"/>
              </a:ext>
            </a:extLst>
          </p:cNvPr>
          <p:cNvCxnSpPr/>
          <p:nvPr/>
        </p:nvCxnSpPr>
        <p:spPr>
          <a:xfrm flipV="1">
            <a:off x="2999656" y="3769976"/>
            <a:ext cx="576064" cy="11264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11387A4-C037-A1B3-350C-7058E0F3F10F}"/>
              </a:ext>
            </a:extLst>
          </p:cNvPr>
          <p:cNvCxnSpPr/>
          <p:nvPr/>
        </p:nvCxnSpPr>
        <p:spPr>
          <a:xfrm flipH="1" flipV="1">
            <a:off x="8256240" y="2377572"/>
            <a:ext cx="576064" cy="14653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DC7AC1-4BEA-AFC5-44F0-606CCAA2A941}"/>
              </a:ext>
            </a:extLst>
          </p:cNvPr>
          <p:cNvCxnSpPr>
            <a:cxnSpLocks/>
          </p:cNvCxnSpPr>
          <p:nvPr/>
        </p:nvCxnSpPr>
        <p:spPr>
          <a:xfrm flipH="1" flipV="1">
            <a:off x="8256240" y="3882616"/>
            <a:ext cx="533197" cy="3624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6A56AAB-F525-362B-189A-20652FA294FF}"/>
              </a:ext>
            </a:extLst>
          </p:cNvPr>
          <p:cNvCxnSpPr>
            <a:cxnSpLocks/>
          </p:cNvCxnSpPr>
          <p:nvPr/>
        </p:nvCxnSpPr>
        <p:spPr>
          <a:xfrm flipV="1">
            <a:off x="4027292" y="5445224"/>
            <a:ext cx="612954" cy="399417"/>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1805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RDF Vocabularies</a:t>
            </a:r>
          </a:p>
        </p:txBody>
      </p:sp>
      <p:sp>
        <p:nvSpPr>
          <p:cNvPr id="4" name="TextBox 3">
            <a:extLst>
              <a:ext uri="{FF2B5EF4-FFF2-40B4-BE49-F238E27FC236}">
                <a16:creationId xmlns:a16="http://schemas.microsoft.com/office/drawing/2014/main" id="{D598579B-8598-CDA2-D518-9DAB0D0F5ED6}"/>
              </a:ext>
            </a:extLst>
          </p:cNvPr>
          <p:cNvSpPr txBox="1"/>
          <p:nvPr/>
        </p:nvSpPr>
        <p:spPr>
          <a:xfrm>
            <a:off x="411479" y="1911316"/>
            <a:ext cx="11369042" cy="925511"/>
          </a:xfrm>
          <a:prstGeom prst="rect">
            <a:avLst/>
          </a:prstGeom>
          <a:noFill/>
        </p:spPr>
        <p:txBody>
          <a:bodyPr vert="horz" wrap="square" lIns="90000" tIns="46800" rIns="90000" bIns="46800" rtlCol="0" anchor="ctr">
            <a:spAutoFit/>
          </a:bodyPr>
          <a:lstStyle/>
          <a:p>
            <a:pPr marL="285750" indent="-285750" algn="l">
              <a:spcBef>
                <a:spcPct val="0"/>
              </a:spcBef>
              <a:buFont typeface="Arial" panose="020B0604020202020204" pitchFamily="34" charset="0"/>
              <a:buChar char="•"/>
            </a:pPr>
            <a:r>
              <a:rPr lang="nl-NL" dirty="0">
                <a:solidFill>
                  <a:schemeClr val="bg1"/>
                </a:solidFill>
              </a:rPr>
              <a:t>An RDF vocabulary is a collection of concepts and relationships, published as RDF, that have been previously defined (by working groups) for a specific use case</a:t>
            </a:r>
          </a:p>
          <a:p>
            <a:pPr marL="285750" indent="-285750" algn="l">
              <a:spcBef>
                <a:spcPct val="0"/>
              </a:spcBef>
              <a:buFont typeface="Arial" panose="020B0604020202020204" pitchFamily="34" charset="0"/>
              <a:buChar char="•"/>
            </a:pPr>
            <a:r>
              <a:rPr lang="nl-NL" dirty="0">
                <a:solidFill>
                  <a:schemeClr val="bg1"/>
                </a:solidFill>
              </a:rPr>
              <a:t>Several ubiquitous vocabularies:</a:t>
            </a:r>
          </a:p>
        </p:txBody>
      </p:sp>
      <p:graphicFrame>
        <p:nvGraphicFramePr>
          <p:cNvPr id="5" name="Table 4">
            <a:extLst>
              <a:ext uri="{FF2B5EF4-FFF2-40B4-BE49-F238E27FC236}">
                <a16:creationId xmlns:a16="http://schemas.microsoft.com/office/drawing/2014/main" id="{C4BC93EA-59D7-2CA7-6987-EB985F315EAA}"/>
              </a:ext>
            </a:extLst>
          </p:cNvPr>
          <p:cNvGraphicFramePr>
            <a:graphicFrameLocks noGrp="1"/>
          </p:cNvGraphicFramePr>
          <p:nvPr/>
        </p:nvGraphicFramePr>
        <p:xfrm>
          <a:off x="767408" y="3068960"/>
          <a:ext cx="10801200" cy="2849880"/>
        </p:xfrm>
        <a:graphic>
          <a:graphicData uri="http://schemas.openxmlformats.org/drawingml/2006/table">
            <a:tbl>
              <a:tblPr firstRow="1" bandRow="1">
                <a:tableStyleId>{5C22544A-7EE6-4342-B048-85BDC9FD1C3A}</a:tableStyleId>
              </a:tblPr>
              <a:tblGrid>
                <a:gridCol w="2304256">
                  <a:extLst>
                    <a:ext uri="{9D8B030D-6E8A-4147-A177-3AD203B41FA5}">
                      <a16:colId xmlns:a16="http://schemas.microsoft.com/office/drawing/2014/main" val="2031594270"/>
                    </a:ext>
                  </a:extLst>
                </a:gridCol>
                <a:gridCol w="4104456">
                  <a:extLst>
                    <a:ext uri="{9D8B030D-6E8A-4147-A177-3AD203B41FA5}">
                      <a16:colId xmlns:a16="http://schemas.microsoft.com/office/drawing/2014/main" val="4081051887"/>
                    </a:ext>
                  </a:extLst>
                </a:gridCol>
                <a:gridCol w="4392488">
                  <a:extLst>
                    <a:ext uri="{9D8B030D-6E8A-4147-A177-3AD203B41FA5}">
                      <a16:colId xmlns:a16="http://schemas.microsoft.com/office/drawing/2014/main" val="1151027185"/>
                    </a:ext>
                  </a:extLst>
                </a:gridCol>
              </a:tblGrid>
              <a:tr h="370840">
                <a:tc>
                  <a:txBody>
                    <a:bodyPr/>
                    <a:lstStyle/>
                    <a:p>
                      <a:r>
                        <a:rPr lang="nl-NL" sz="1600" dirty="0"/>
                        <a:t>RDF vocabulary</a:t>
                      </a:r>
                    </a:p>
                  </a:txBody>
                  <a:tcPr/>
                </a:tc>
                <a:tc>
                  <a:txBody>
                    <a:bodyPr/>
                    <a:lstStyle/>
                    <a:p>
                      <a:r>
                        <a:rPr lang="nl-NL" sz="1600" dirty="0"/>
                        <a:t>Full name</a:t>
                      </a:r>
                    </a:p>
                  </a:txBody>
                  <a:tcPr/>
                </a:tc>
                <a:tc>
                  <a:txBody>
                    <a:bodyPr/>
                    <a:lstStyle/>
                    <a:p>
                      <a:r>
                        <a:rPr lang="nl-NL" sz="1600" dirty="0"/>
                        <a:t>Use case</a:t>
                      </a:r>
                    </a:p>
                  </a:txBody>
                  <a:tcPr/>
                </a:tc>
                <a:extLst>
                  <a:ext uri="{0D108BD9-81ED-4DB2-BD59-A6C34878D82A}">
                    <a16:rowId xmlns:a16="http://schemas.microsoft.com/office/drawing/2014/main" val="3044245544"/>
                  </a:ext>
                </a:extLst>
              </a:tr>
              <a:tr h="370840">
                <a:tc>
                  <a:txBody>
                    <a:bodyPr/>
                    <a:lstStyle/>
                    <a:p>
                      <a:r>
                        <a:rPr lang="nl-NL" sz="1600" dirty="0"/>
                        <a:t>RDF</a:t>
                      </a:r>
                    </a:p>
                  </a:txBody>
                  <a:tcPr/>
                </a:tc>
                <a:tc>
                  <a:txBody>
                    <a:bodyPr/>
                    <a:lstStyle/>
                    <a:p>
                      <a:r>
                        <a:rPr lang="nl-NL" sz="1600" dirty="0"/>
                        <a:t>Resource Description Framework</a:t>
                      </a:r>
                    </a:p>
                  </a:txBody>
                  <a:tcPr/>
                </a:tc>
                <a:tc>
                  <a:txBody>
                    <a:bodyPr/>
                    <a:lstStyle/>
                    <a:p>
                      <a:r>
                        <a:rPr lang="nl-NL" sz="1600" dirty="0"/>
                        <a:t>Basic building blocks for having data as RDF</a:t>
                      </a:r>
                    </a:p>
                  </a:txBody>
                  <a:tcPr/>
                </a:tc>
                <a:extLst>
                  <a:ext uri="{0D108BD9-81ED-4DB2-BD59-A6C34878D82A}">
                    <a16:rowId xmlns:a16="http://schemas.microsoft.com/office/drawing/2014/main" val="575546923"/>
                  </a:ext>
                </a:extLst>
              </a:tr>
              <a:tr h="370840">
                <a:tc>
                  <a:txBody>
                    <a:bodyPr/>
                    <a:lstStyle/>
                    <a:p>
                      <a:r>
                        <a:rPr lang="nl-NL" sz="1600" dirty="0"/>
                        <a:t>RDFS</a:t>
                      </a:r>
                    </a:p>
                  </a:txBody>
                  <a:tcPr/>
                </a:tc>
                <a:tc>
                  <a:txBody>
                    <a:bodyPr/>
                    <a:lstStyle/>
                    <a:p>
                      <a:r>
                        <a:rPr lang="nl-NL" sz="1600" dirty="0"/>
                        <a:t>RDF Schema</a:t>
                      </a:r>
                    </a:p>
                  </a:txBody>
                  <a:tcPr/>
                </a:tc>
                <a:tc>
                  <a:txBody>
                    <a:bodyPr/>
                    <a:lstStyle/>
                    <a:p>
                      <a:r>
                        <a:rPr lang="nl-NL" sz="1600" dirty="0"/>
                        <a:t>Simple schema </a:t>
                      </a:r>
                    </a:p>
                  </a:txBody>
                  <a:tcPr/>
                </a:tc>
                <a:extLst>
                  <a:ext uri="{0D108BD9-81ED-4DB2-BD59-A6C34878D82A}">
                    <a16:rowId xmlns:a16="http://schemas.microsoft.com/office/drawing/2014/main" val="1213894260"/>
                  </a:ext>
                </a:extLst>
              </a:tr>
              <a:tr h="370840">
                <a:tc>
                  <a:txBody>
                    <a:bodyPr/>
                    <a:lstStyle/>
                    <a:p>
                      <a:r>
                        <a:rPr lang="nl-NL" sz="1600" dirty="0"/>
                        <a:t>OWL</a:t>
                      </a:r>
                    </a:p>
                  </a:txBody>
                  <a:tcPr/>
                </a:tc>
                <a:tc>
                  <a:txBody>
                    <a:bodyPr/>
                    <a:lstStyle/>
                    <a:p>
                      <a:r>
                        <a:rPr lang="nl-NL" sz="1600" dirty="0"/>
                        <a:t>Web Ontology Language</a:t>
                      </a:r>
                    </a:p>
                  </a:txBody>
                  <a:tcPr/>
                </a:tc>
                <a:tc>
                  <a:txBody>
                    <a:bodyPr/>
                    <a:lstStyle/>
                    <a:p>
                      <a:r>
                        <a:rPr lang="nl-NL" sz="1600" dirty="0"/>
                        <a:t>Ontologies based on first order logic/set theory and in an open world assumption</a:t>
                      </a:r>
                    </a:p>
                  </a:txBody>
                  <a:tcPr/>
                </a:tc>
                <a:extLst>
                  <a:ext uri="{0D108BD9-81ED-4DB2-BD59-A6C34878D82A}">
                    <a16:rowId xmlns:a16="http://schemas.microsoft.com/office/drawing/2014/main" val="93129715"/>
                  </a:ext>
                </a:extLst>
              </a:tr>
              <a:tr h="370840">
                <a:tc>
                  <a:txBody>
                    <a:bodyPr/>
                    <a:lstStyle/>
                    <a:p>
                      <a:r>
                        <a:rPr lang="nl-NL" sz="1600" dirty="0"/>
                        <a:t>SHACL</a:t>
                      </a:r>
                    </a:p>
                  </a:txBody>
                  <a:tcPr/>
                </a:tc>
                <a:tc>
                  <a:txBody>
                    <a:bodyPr/>
                    <a:lstStyle/>
                    <a:p>
                      <a:r>
                        <a:rPr lang="nl-NL" sz="1600" dirty="0"/>
                        <a:t>Shapes Constraint Language</a:t>
                      </a:r>
                    </a:p>
                  </a:txBody>
                  <a:tcPr/>
                </a:tc>
                <a:tc>
                  <a:txBody>
                    <a:bodyPr/>
                    <a:lstStyle/>
                    <a:p>
                      <a:r>
                        <a:rPr lang="nl-NL" sz="1600" dirty="0"/>
                        <a:t>Data validation / ontologies in a closed world assumption</a:t>
                      </a:r>
                    </a:p>
                  </a:txBody>
                  <a:tcPr/>
                </a:tc>
                <a:extLst>
                  <a:ext uri="{0D108BD9-81ED-4DB2-BD59-A6C34878D82A}">
                    <a16:rowId xmlns:a16="http://schemas.microsoft.com/office/drawing/2014/main" val="230149923"/>
                  </a:ext>
                </a:extLst>
              </a:tr>
              <a:tr h="370840">
                <a:tc>
                  <a:txBody>
                    <a:bodyPr/>
                    <a:lstStyle/>
                    <a:p>
                      <a:r>
                        <a:rPr lang="nl-NL" sz="1600" dirty="0"/>
                        <a:t>SKOS</a:t>
                      </a:r>
                    </a:p>
                  </a:txBody>
                  <a:tcPr/>
                </a:tc>
                <a:tc>
                  <a:txBody>
                    <a:bodyPr/>
                    <a:lstStyle/>
                    <a:p>
                      <a:r>
                        <a:rPr lang="nl-NL" sz="1600" dirty="0"/>
                        <a:t>Simple Knowledge Organization Systems</a:t>
                      </a:r>
                    </a:p>
                  </a:txBody>
                  <a:tcPr/>
                </a:tc>
                <a:tc>
                  <a:txBody>
                    <a:bodyPr/>
                    <a:lstStyle/>
                    <a:p>
                      <a:r>
                        <a:rPr lang="nl-NL" sz="1600" dirty="0"/>
                        <a:t>Taxonomies, thesauri, simple concepts and concept schemes</a:t>
                      </a:r>
                    </a:p>
                  </a:txBody>
                  <a:tcPr/>
                </a:tc>
                <a:extLst>
                  <a:ext uri="{0D108BD9-81ED-4DB2-BD59-A6C34878D82A}">
                    <a16:rowId xmlns:a16="http://schemas.microsoft.com/office/drawing/2014/main" val="3092444535"/>
                  </a:ext>
                </a:extLst>
              </a:tr>
            </a:tbl>
          </a:graphicData>
        </a:graphic>
      </p:graphicFrame>
    </p:spTree>
    <p:extLst>
      <p:ext uri="{BB962C8B-B14F-4D97-AF65-F5344CB8AC3E}">
        <p14:creationId xmlns:p14="http://schemas.microsoft.com/office/powerpoint/2010/main" val="182958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Reading Linked Data/RDF</a:t>
            </a:r>
          </a:p>
        </p:txBody>
      </p:sp>
      <p:sp>
        <p:nvSpPr>
          <p:cNvPr id="4" name="TextBox 3">
            <a:extLst>
              <a:ext uri="{FF2B5EF4-FFF2-40B4-BE49-F238E27FC236}">
                <a16:creationId xmlns:a16="http://schemas.microsoft.com/office/drawing/2014/main" id="{8EC7186E-6886-FC51-A6FD-7F0CA1027737}"/>
              </a:ext>
            </a:extLst>
          </p:cNvPr>
          <p:cNvSpPr txBox="1"/>
          <p:nvPr/>
        </p:nvSpPr>
        <p:spPr>
          <a:xfrm>
            <a:off x="411479" y="1700808"/>
            <a:ext cx="11008413" cy="648512"/>
          </a:xfrm>
          <a:prstGeom prst="rect">
            <a:avLst/>
          </a:prstGeom>
          <a:noFill/>
        </p:spPr>
        <p:txBody>
          <a:bodyPr vert="horz" wrap="square" lIns="90000" tIns="46800" rIns="90000" bIns="46800" rtlCol="0" anchor="ctr">
            <a:spAutoFit/>
          </a:bodyPr>
          <a:lstStyle/>
          <a:p>
            <a:pPr marL="285750" indent="-285750" algn="l">
              <a:spcBef>
                <a:spcPct val="0"/>
              </a:spcBef>
              <a:buFont typeface="Arial" panose="020B0604020202020204" pitchFamily="34" charset="0"/>
              <a:buChar char="•"/>
            </a:pPr>
            <a:r>
              <a:rPr lang="nl-NL" dirty="0">
                <a:solidFill>
                  <a:schemeClr val="bg1"/>
                </a:solidFill>
              </a:rPr>
              <a:t>RDF has various serialization forms: N3-Triples, XML, JSON-LD, Turtle</a:t>
            </a:r>
          </a:p>
          <a:p>
            <a:pPr marL="285750" indent="-285750" algn="l">
              <a:spcBef>
                <a:spcPct val="0"/>
              </a:spcBef>
              <a:buFont typeface="Arial" panose="020B0604020202020204" pitchFamily="34" charset="0"/>
              <a:buChar char="•"/>
            </a:pPr>
            <a:r>
              <a:rPr lang="nl-NL" dirty="0">
                <a:solidFill>
                  <a:schemeClr val="bg1"/>
                </a:solidFill>
              </a:rPr>
              <a:t>Below graph will be used as example</a:t>
            </a:r>
          </a:p>
        </p:txBody>
      </p:sp>
      <p:pic>
        <p:nvPicPr>
          <p:cNvPr id="16" name="Picture 15">
            <a:hlinkClick r:id="rId2"/>
            <a:extLst>
              <a:ext uri="{FF2B5EF4-FFF2-40B4-BE49-F238E27FC236}">
                <a16:creationId xmlns:a16="http://schemas.microsoft.com/office/drawing/2014/main" id="{1CA0AE2E-B11D-9399-0DB2-F135A9710E64}"/>
              </a:ext>
            </a:extLst>
          </p:cNvPr>
          <p:cNvPicPr>
            <a:picLocks noChangeAspect="1"/>
          </p:cNvPicPr>
          <p:nvPr/>
        </p:nvPicPr>
        <p:blipFill>
          <a:blip r:embed="rId3"/>
          <a:stretch>
            <a:fillRect/>
          </a:stretch>
        </p:blipFill>
        <p:spPr>
          <a:xfrm>
            <a:off x="2783632" y="2406470"/>
            <a:ext cx="7272808" cy="3980247"/>
          </a:xfrm>
          <a:prstGeom prst="rect">
            <a:avLst/>
          </a:prstGeom>
        </p:spPr>
      </p:pic>
    </p:spTree>
    <p:extLst>
      <p:ext uri="{BB962C8B-B14F-4D97-AF65-F5344CB8AC3E}">
        <p14:creationId xmlns:p14="http://schemas.microsoft.com/office/powerpoint/2010/main" val="1695943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C74FAB-9686-B087-A40B-EACFD043E871}"/>
              </a:ext>
            </a:extLst>
          </p:cNvPr>
          <p:cNvSpPr>
            <a:spLocks noGrp="1"/>
          </p:cNvSpPr>
          <p:nvPr>
            <p:ph type="body" sz="quarter" idx="15"/>
          </p:nvPr>
        </p:nvSpPr>
        <p:spPr>
          <a:xfrm>
            <a:off x="414971" y="1125538"/>
            <a:ext cx="11369042" cy="246221"/>
          </a:xfrm>
        </p:spPr>
        <p:txBody>
          <a:bodyPr/>
          <a:lstStyle/>
          <a:p>
            <a:r>
              <a:rPr lang="nl-NL" dirty="0">
                <a:solidFill>
                  <a:schemeClr val="bg1"/>
                </a:solidFill>
              </a:rPr>
              <a:t>N3-Triples, JSON-LD, RDF/XML: All RDF, but...</a:t>
            </a:r>
          </a:p>
        </p:txBody>
      </p:sp>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Reading Linked Data/RDF</a:t>
            </a:r>
          </a:p>
        </p:txBody>
      </p:sp>
      <p:pic>
        <p:nvPicPr>
          <p:cNvPr id="8" name="Picture 7">
            <a:hlinkClick r:id="rId2"/>
            <a:extLst>
              <a:ext uri="{FF2B5EF4-FFF2-40B4-BE49-F238E27FC236}">
                <a16:creationId xmlns:a16="http://schemas.microsoft.com/office/drawing/2014/main" id="{680F9297-0ADB-C74F-ED77-BFF093B92F46}"/>
              </a:ext>
            </a:extLst>
          </p:cNvPr>
          <p:cNvPicPr>
            <a:picLocks noChangeAspect="1"/>
          </p:cNvPicPr>
          <p:nvPr/>
        </p:nvPicPr>
        <p:blipFill>
          <a:blip r:embed="rId3"/>
          <a:stretch>
            <a:fillRect/>
          </a:stretch>
        </p:blipFill>
        <p:spPr>
          <a:xfrm>
            <a:off x="312151" y="1581610"/>
            <a:ext cx="6029035" cy="1440160"/>
          </a:xfrm>
          <a:prstGeom prst="rect">
            <a:avLst/>
          </a:prstGeom>
          <a:ln>
            <a:noFill/>
          </a:ln>
          <a:effectLst>
            <a:outerShdw blurRad="292100" dist="139700" dir="2700000" algn="tl" rotWithShape="0">
              <a:srgbClr val="333333">
                <a:alpha val="65000"/>
              </a:srgbClr>
            </a:outerShdw>
          </a:effectLst>
        </p:spPr>
      </p:pic>
      <p:pic>
        <p:nvPicPr>
          <p:cNvPr id="12" name="Picture 11">
            <a:hlinkClick r:id="rId2"/>
            <a:extLst>
              <a:ext uri="{FF2B5EF4-FFF2-40B4-BE49-F238E27FC236}">
                <a16:creationId xmlns:a16="http://schemas.microsoft.com/office/drawing/2014/main" id="{EBD6A8E8-FD40-02DE-08E1-4E8EA50AD03A}"/>
              </a:ext>
            </a:extLst>
          </p:cNvPr>
          <p:cNvPicPr>
            <a:picLocks noChangeAspect="1"/>
          </p:cNvPicPr>
          <p:nvPr/>
        </p:nvPicPr>
        <p:blipFill>
          <a:blip r:embed="rId4"/>
          <a:stretch>
            <a:fillRect/>
          </a:stretch>
        </p:blipFill>
        <p:spPr>
          <a:xfrm>
            <a:off x="2729246" y="3142869"/>
            <a:ext cx="3611940" cy="3285934"/>
          </a:xfrm>
          <a:prstGeom prst="rect">
            <a:avLst/>
          </a:prstGeom>
          <a:ln>
            <a:noFill/>
          </a:ln>
          <a:effectLst>
            <a:outerShdw blurRad="292100" dist="139700" dir="2700000" algn="tl" rotWithShape="0">
              <a:srgbClr val="333333">
                <a:alpha val="65000"/>
              </a:srgbClr>
            </a:outerShdw>
          </a:effectLst>
        </p:spPr>
      </p:pic>
      <p:pic>
        <p:nvPicPr>
          <p:cNvPr id="6" name="Picture 5">
            <a:hlinkClick r:id="rId2"/>
            <a:extLst>
              <a:ext uri="{FF2B5EF4-FFF2-40B4-BE49-F238E27FC236}">
                <a16:creationId xmlns:a16="http://schemas.microsoft.com/office/drawing/2014/main" id="{8FA57CCD-0FBD-56A2-7EE4-680F1FF9C1B7}"/>
              </a:ext>
            </a:extLst>
          </p:cNvPr>
          <p:cNvPicPr>
            <a:picLocks noChangeAspect="1"/>
          </p:cNvPicPr>
          <p:nvPr/>
        </p:nvPicPr>
        <p:blipFill>
          <a:blip r:embed="rId5"/>
          <a:stretch>
            <a:fillRect/>
          </a:stretch>
        </p:blipFill>
        <p:spPr>
          <a:xfrm>
            <a:off x="6648046" y="836712"/>
            <a:ext cx="5143946" cy="4179002"/>
          </a:xfrm>
          <a:prstGeom prst="rect">
            <a:avLst/>
          </a:prstGeom>
        </p:spPr>
      </p:pic>
      <p:sp>
        <p:nvSpPr>
          <p:cNvPr id="7" name="TextBox 6">
            <a:extLst>
              <a:ext uri="{FF2B5EF4-FFF2-40B4-BE49-F238E27FC236}">
                <a16:creationId xmlns:a16="http://schemas.microsoft.com/office/drawing/2014/main" id="{36FF5BB9-7C93-0435-A061-29A7C0B4B843}"/>
              </a:ext>
            </a:extLst>
          </p:cNvPr>
          <p:cNvSpPr txBox="1"/>
          <p:nvPr/>
        </p:nvSpPr>
        <p:spPr>
          <a:xfrm>
            <a:off x="5586737" y="2146711"/>
            <a:ext cx="1018525"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FFFF00"/>
                </a:highlight>
              </a:rPr>
              <a:t>N3-Triples</a:t>
            </a:r>
          </a:p>
        </p:txBody>
      </p:sp>
      <p:sp>
        <p:nvSpPr>
          <p:cNvPr id="9" name="TextBox 8">
            <a:extLst>
              <a:ext uri="{FF2B5EF4-FFF2-40B4-BE49-F238E27FC236}">
                <a16:creationId xmlns:a16="http://schemas.microsoft.com/office/drawing/2014/main" id="{49700B75-4B8C-1A09-F793-7A333E587570}"/>
              </a:ext>
            </a:extLst>
          </p:cNvPr>
          <p:cNvSpPr txBox="1"/>
          <p:nvPr/>
        </p:nvSpPr>
        <p:spPr>
          <a:xfrm>
            <a:off x="11125409" y="4630857"/>
            <a:ext cx="951199"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FFFF00"/>
                </a:highlight>
              </a:rPr>
              <a:t>RDF/XML</a:t>
            </a:r>
          </a:p>
        </p:txBody>
      </p:sp>
      <p:sp>
        <p:nvSpPr>
          <p:cNvPr id="11" name="TextBox 10">
            <a:extLst>
              <a:ext uri="{FF2B5EF4-FFF2-40B4-BE49-F238E27FC236}">
                <a16:creationId xmlns:a16="http://schemas.microsoft.com/office/drawing/2014/main" id="{ADD37FE5-C599-34A7-9C43-A15FA7FA2E45}"/>
              </a:ext>
            </a:extLst>
          </p:cNvPr>
          <p:cNvSpPr txBox="1"/>
          <p:nvPr/>
        </p:nvSpPr>
        <p:spPr>
          <a:xfrm>
            <a:off x="5639635" y="5877272"/>
            <a:ext cx="912727"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FFFF00"/>
                </a:highlight>
              </a:rPr>
              <a:t>JSON-LD</a:t>
            </a:r>
          </a:p>
        </p:txBody>
      </p:sp>
    </p:spTree>
    <p:extLst>
      <p:ext uri="{BB962C8B-B14F-4D97-AF65-F5344CB8AC3E}">
        <p14:creationId xmlns:p14="http://schemas.microsoft.com/office/powerpoint/2010/main" val="133806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C74FAB-9686-B087-A40B-EACFD043E871}"/>
              </a:ext>
            </a:extLst>
          </p:cNvPr>
          <p:cNvSpPr>
            <a:spLocks noGrp="1"/>
          </p:cNvSpPr>
          <p:nvPr>
            <p:ph type="body" sz="quarter" idx="15"/>
          </p:nvPr>
        </p:nvSpPr>
        <p:spPr>
          <a:xfrm>
            <a:off x="414971" y="1125538"/>
            <a:ext cx="11369042" cy="246221"/>
          </a:xfrm>
        </p:spPr>
        <p:txBody>
          <a:bodyPr/>
          <a:lstStyle/>
          <a:p>
            <a:r>
              <a:rPr lang="nl-NL" dirty="0">
                <a:solidFill>
                  <a:schemeClr val="bg1"/>
                </a:solidFill>
              </a:rPr>
              <a:t>..., </a:t>
            </a:r>
            <a:r>
              <a:rPr lang="nl-NL" dirty="0"/>
              <a:t>the T</a:t>
            </a:r>
            <a:r>
              <a:rPr lang="nl-NL" dirty="0">
                <a:solidFill>
                  <a:schemeClr val="bg1"/>
                </a:solidFill>
              </a:rPr>
              <a:t>urtle syntax offer the best readability for humans</a:t>
            </a:r>
          </a:p>
        </p:txBody>
      </p:sp>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Reading Linked Data/RDF</a:t>
            </a:r>
          </a:p>
        </p:txBody>
      </p:sp>
      <p:pic>
        <p:nvPicPr>
          <p:cNvPr id="10" name="Picture 9">
            <a:extLst>
              <a:ext uri="{FF2B5EF4-FFF2-40B4-BE49-F238E27FC236}">
                <a16:creationId xmlns:a16="http://schemas.microsoft.com/office/drawing/2014/main" id="{7084828A-DD3F-CC51-35F9-18207819703E}"/>
              </a:ext>
            </a:extLst>
          </p:cNvPr>
          <p:cNvPicPr>
            <a:picLocks noChangeAspect="1"/>
          </p:cNvPicPr>
          <p:nvPr/>
        </p:nvPicPr>
        <p:blipFill>
          <a:blip r:embed="rId2"/>
          <a:stretch>
            <a:fillRect/>
          </a:stretch>
        </p:blipFill>
        <p:spPr>
          <a:xfrm>
            <a:off x="5918188" y="836712"/>
            <a:ext cx="5321758" cy="5455787"/>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8CB4E1EA-5ED3-4A6D-27D4-557726B74F04}"/>
              </a:ext>
            </a:extLst>
          </p:cNvPr>
          <p:cNvSpPr txBox="1"/>
          <p:nvPr/>
        </p:nvSpPr>
        <p:spPr>
          <a:xfrm>
            <a:off x="10860103" y="1134826"/>
            <a:ext cx="677086"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FFFF00"/>
                </a:highlight>
              </a:rPr>
              <a:t>Turtle</a:t>
            </a:r>
          </a:p>
        </p:txBody>
      </p:sp>
      <p:sp>
        <p:nvSpPr>
          <p:cNvPr id="5" name="TextBox 4">
            <a:extLst>
              <a:ext uri="{FF2B5EF4-FFF2-40B4-BE49-F238E27FC236}">
                <a16:creationId xmlns:a16="http://schemas.microsoft.com/office/drawing/2014/main" id="{72D0D9BF-CCDC-F428-2A99-4B3F5716D157}"/>
              </a:ext>
            </a:extLst>
          </p:cNvPr>
          <p:cNvSpPr txBox="1"/>
          <p:nvPr/>
        </p:nvSpPr>
        <p:spPr>
          <a:xfrm>
            <a:off x="3773838" y="1742401"/>
            <a:ext cx="2464434"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00FF00"/>
                </a:highlight>
              </a:rPr>
              <a:t>Prefixes for shortening URIs</a:t>
            </a:r>
          </a:p>
        </p:txBody>
      </p:sp>
      <p:sp>
        <p:nvSpPr>
          <p:cNvPr id="9" name="TextBox 8">
            <a:extLst>
              <a:ext uri="{FF2B5EF4-FFF2-40B4-BE49-F238E27FC236}">
                <a16:creationId xmlns:a16="http://schemas.microsoft.com/office/drawing/2014/main" id="{1E14035E-BEA1-69C3-AF7F-AF8D15514FD0}"/>
              </a:ext>
            </a:extLst>
          </p:cNvPr>
          <p:cNvSpPr txBox="1"/>
          <p:nvPr/>
        </p:nvSpPr>
        <p:spPr>
          <a:xfrm>
            <a:off x="8832304" y="3042354"/>
            <a:ext cx="3503180" cy="95628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00FF00"/>
                </a:highlight>
              </a:rPr>
              <a:t>No need to repeat the subject </a:t>
            </a:r>
            <a:br>
              <a:rPr lang="nl-NL" sz="1400" dirty="0">
                <a:highlight>
                  <a:srgbClr val="00FF00"/>
                </a:highlight>
              </a:rPr>
            </a:br>
            <a:r>
              <a:rPr lang="nl-NL" sz="1400" dirty="0">
                <a:highlight>
                  <a:srgbClr val="00FF00"/>
                </a:highlight>
              </a:rPr>
              <a:t>when using the semicolon (“;”). Close off </a:t>
            </a:r>
            <a:br>
              <a:rPr lang="nl-NL" sz="1400" dirty="0">
                <a:highlight>
                  <a:srgbClr val="00FF00"/>
                </a:highlight>
              </a:rPr>
            </a:br>
            <a:r>
              <a:rPr lang="nl-NL" sz="1400" dirty="0">
                <a:highlight>
                  <a:srgbClr val="00FF00"/>
                </a:highlight>
              </a:rPr>
              <a:t>the list of predicate-object </a:t>
            </a:r>
            <a:br>
              <a:rPr lang="nl-NL" sz="1400" dirty="0">
                <a:highlight>
                  <a:srgbClr val="00FF00"/>
                </a:highlight>
              </a:rPr>
            </a:br>
            <a:r>
              <a:rPr lang="nl-NL" sz="1400" dirty="0">
                <a:highlight>
                  <a:srgbClr val="00FF00"/>
                </a:highlight>
              </a:rPr>
              <a:t>combinations with a period (“.”) .</a:t>
            </a:r>
          </a:p>
        </p:txBody>
      </p:sp>
      <p:sp>
        <p:nvSpPr>
          <p:cNvPr id="11" name="TextBox 10">
            <a:extLst>
              <a:ext uri="{FF2B5EF4-FFF2-40B4-BE49-F238E27FC236}">
                <a16:creationId xmlns:a16="http://schemas.microsoft.com/office/drawing/2014/main" id="{9BC461E0-0884-575C-2C92-F9E8BE4B82AD}"/>
              </a:ext>
            </a:extLst>
          </p:cNvPr>
          <p:cNvSpPr txBox="1"/>
          <p:nvPr/>
        </p:nvSpPr>
        <p:spPr>
          <a:xfrm>
            <a:off x="3585092" y="4041358"/>
            <a:ext cx="2448404" cy="740845"/>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00FF00"/>
                </a:highlight>
              </a:rPr>
              <a:t>Only the space between </a:t>
            </a:r>
            <a:br>
              <a:rPr lang="nl-NL" sz="1400" dirty="0">
                <a:highlight>
                  <a:srgbClr val="00FF00"/>
                </a:highlight>
              </a:rPr>
            </a:br>
            <a:r>
              <a:rPr lang="nl-NL" sz="1400" dirty="0">
                <a:highlight>
                  <a:srgbClr val="00FF00"/>
                </a:highlight>
              </a:rPr>
              <a:t>subject – predicate – object </a:t>
            </a:r>
            <a:br>
              <a:rPr lang="nl-NL" sz="1400" dirty="0">
                <a:highlight>
                  <a:srgbClr val="00FF00"/>
                </a:highlight>
              </a:rPr>
            </a:br>
            <a:r>
              <a:rPr lang="nl-NL" sz="1400" dirty="0">
                <a:highlight>
                  <a:srgbClr val="00FF00"/>
                </a:highlight>
              </a:rPr>
              <a:t>is important</a:t>
            </a:r>
          </a:p>
        </p:txBody>
      </p:sp>
    </p:spTree>
    <p:extLst>
      <p:ext uri="{BB962C8B-B14F-4D97-AF65-F5344CB8AC3E}">
        <p14:creationId xmlns:p14="http://schemas.microsoft.com/office/powerpoint/2010/main" val="2158321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C74FAB-9686-B087-A40B-EACFD043E871}"/>
              </a:ext>
            </a:extLst>
          </p:cNvPr>
          <p:cNvSpPr>
            <a:spLocks noGrp="1"/>
          </p:cNvSpPr>
          <p:nvPr>
            <p:ph type="body" sz="quarter" idx="15"/>
          </p:nvPr>
        </p:nvSpPr>
        <p:spPr>
          <a:xfrm>
            <a:off x="414971" y="1125538"/>
            <a:ext cx="11369042" cy="246221"/>
          </a:xfrm>
        </p:spPr>
        <p:txBody>
          <a:bodyPr/>
          <a:lstStyle/>
          <a:p>
            <a:r>
              <a:rPr lang="nl-NL" dirty="0">
                <a:solidFill>
                  <a:schemeClr val="bg1"/>
                </a:solidFill>
              </a:rPr>
              <a:t>Some conventions</a:t>
            </a:r>
          </a:p>
        </p:txBody>
      </p:sp>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Reading Linked Data/RDF</a:t>
            </a:r>
          </a:p>
        </p:txBody>
      </p:sp>
      <p:pic>
        <p:nvPicPr>
          <p:cNvPr id="10" name="Picture 9">
            <a:extLst>
              <a:ext uri="{FF2B5EF4-FFF2-40B4-BE49-F238E27FC236}">
                <a16:creationId xmlns:a16="http://schemas.microsoft.com/office/drawing/2014/main" id="{7084828A-DD3F-CC51-35F9-18207819703E}"/>
              </a:ext>
            </a:extLst>
          </p:cNvPr>
          <p:cNvPicPr>
            <a:picLocks noChangeAspect="1"/>
          </p:cNvPicPr>
          <p:nvPr/>
        </p:nvPicPr>
        <p:blipFill>
          <a:blip r:embed="rId2"/>
          <a:stretch>
            <a:fillRect/>
          </a:stretch>
        </p:blipFill>
        <p:spPr>
          <a:xfrm>
            <a:off x="5918188" y="836712"/>
            <a:ext cx="5321758" cy="5455787"/>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8CB4E1EA-5ED3-4A6D-27D4-557726B74F04}"/>
              </a:ext>
            </a:extLst>
          </p:cNvPr>
          <p:cNvSpPr txBox="1"/>
          <p:nvPr/>
        </p:nvSpPr>
        <p:spPr>
          <a:xfrm>
            <a:off x="10860103" y="1134826"/>
            <a:ext cx="677086"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FFFF00"/>
                </a:highlight>
              </a:rPr>
              <a:t>Turtle</a:t>
            </a:r>
          </a:p>
        </p:txBody>
      </p:sp>
      <p:sp>
        <p:nvSpPr>
          <p:cNvPr id="5" name="TextBox 4">
            <a:extLst>
              <a:ext uri="{FF2B5EF4-FFF2-40B4-BE49-F238E27FC236}">
                <a16:creationId xmlns:a16="http://schemas.microsoft.com/office/drawing/2014/main" id="{72D0D9BF-CCDC-F428-2A99-4B3F5716D157}"/>
              </a:ext>
            </a:extLst>
          </p:cNvPr>
          <p:cNvSpPr txBox="1"/>
          <p:nvPr/>
        </p:nvSpPr>
        <p:spPr>
          <a:xfrm>
            <a:off x="7968208" y="4725442"/>
            <a:ext cx="3104033" cy="309958"/>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00FF00"/>
                </a:highlight>
              </a:rPr>
              <a:t>Classes begin with capitalized letter</a:t>
            </a:r>
          </a:p>
        </p:txBody>
      </p:sp>
      <p:sp>
        <p:nvSpPr>
          <p:cNvPr id="9" name="TextBox 8">
            <a:extLst>
              <a:ext uri="{FF2B5EF4-FFF2-40B4-BE49-F238E27FC236}">
                <a16:creationId xmlns:a16="http://schemas.microsoft.com/office/drawing/2014/main" id="{1E14035E-BEA1-69C3-AF7F-AF8D15514FD0}"/>
              </a:ext>
            </a:extLst>
          </p:cNvPr>
          <p:cNvSpPr txBox="1"/>
          <p:nvPr/>
        </p:nvSpPr>
        <p:spPr>
          <a:xfrm>
            <a:off x="4295792" y="3564605"/>
            <a:ext cx="2156657" cy="525401"/>
          </a:xfrm>
          <a:prstGeom prst="rect">
            <a:avLst/>
          </a:prstGeom>
          <a:noFill/>
        </p:spPr>
        <p:txBody>
          <a:bodyPr vert="horz" wrap="none" lIns="90000" tIns="46800" rIns="90000" bIns="46800" rtlCol="0" anchor="ctr">
            <a:spAutoFit/>
          </a:bodyPr>
          <a:lstStyle/>
          <a:p>
            <a:pPr algn="l">
              <a:spcBef>
                <a:spcPct val="0"/>
              </a:spcBef>
            </a:pPr>
            <a:r>
              <a:rPr lang="nl-NL" sz="1400" dirty="0">
                <a:highlight>
                  <a:srgbClr val="00FF00"/>
                </a:highlight>
              </a:rPr>
              <a:t>relationships/attributes </a:t>
            </a:r>
            <a:br>
              <a:rPr lang="nl-NL" sz="1400" dirty="0">
                <a:highlight>
                  <a:srgbClr val="00FF00"/>
                </a:highlight>
              </a:rPr>
            </a:br>
            <a:r>
              <a:rPr lang="nl-NL" sz="1400" dirty="0">
                <a:highlight>
                  <a:srgbClr val="00FF00"/>
                </a:highlight>
              </a:rPr>
              <a:t>in camelCase</a:t>
            </a:r>
          </a:p>
        </p:txBody>
      </p:sp>
    </p:spTree>
    <p:extLst>
      <p:ext uri="{BB962C8B-B14F-4D97-AF65-F5344CB8AC3E}">
        <p14:creationId xmlns:p14="http://schemas.microsoft.com/office/powerpoint/2010/main" val="3944775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F1790A-002F-5BF2-0F36-CFB96EB0255A}"/>
              </a:ext>
            </a:extLst>
          </p:cNvPr>
          <p:cNvSpPr>
            <a:spLocks noGrp="1"/>
          </p:cNvSpPr>
          <p:nvPr>
            <p:ph type="body" sz="quarter" idx="17"/>
          </p:nvPr>
        </p:nvSpPr>
        <p:spPr>
          <a:xfrm>
            <a:off x="414971" y="1624108"/>
            <a:ext cx="4672917" cy="4829080"/>
          </a:xfrm>
        </p:spPr>
        <p:txBody>
          <a:bodyPr/>
          <a:lstStyle/>
          <a:p>
            <a:r>
              <a:rPr lang="nl-NL" dirty="0"/>
              <a:t>Let’s open the `simple-rdf-example-transformations.ipynb` notebook</a:t>
            </a:r>
          </a:p>
        </p:txBody>
      </p:sp>
      <p:sp>
        <p:nvSpPr>
          <p:cNvPr id="4" name="Title 3">
            <a:extLst>
              <a:ext uri="{FF2B5EF4-FFF2-40B4-BE49-F238E27FC236}">
                <a16:creationId xmlns:a16="http://schemas.microsoft.com/office/drawing/2014/main" id="{E7AD3BA9-5517-28AB-18F7-60D057D0681E}"/>
              </a:ext>
            </a:extLst>
          </p:cNvPr>
          <p:cNvSpPr>
            <a:spLocks noGrp="1"/>
          </p:cNvSpPr>
          <p:nvPr>
            <p:ph type="title"/>
          </p:nvPr>
        </p:nvSpPr>
        <p:spPr/>
        <p:txBody>
          <a:bodyPr/>
          <a:lstStyle/>
          <a:p>
            <a:r>
              <a:rPr lang="nl-NL" dirty="0"/>
              <a:t>Notebook: simple-rdf-example-transformations.ipynb</a:t>
            </a:r>
          </a:p>
        </p:txBody>
      </p:sp>
      <p:pic>
        <p:nvPicPr>
          <p:cNvPr id="6" name="Picture 5">
            <a:extLst>
              <a:ext uri="{FF2B5EF4-FFF2-40B4-BE49-F238E27FC236}">
                <a16:creationId xmlns:a16="http://schemas.microsoft.com/office/drawing/2014/main" id="{B9FD40A8-3EA5-11A5-5719-9D5C50D8EAB9}"/>
              </a:ext>
            </a:extLst>
          </p:cNvPr>
          <p:cNvPicPr>
            <a:picLocks noChangeAspect="1"/>
          </p:cNvPicPr>
          <p:nvPr/>
        </p:nvPicPr>
        <p:blipFill>
          <a:blip r:embed="rId2"/>
          <a:stretch>
            <a:fillRect/>
          </a:stretch>
        </p:blipFill>
        <p:spPr>
          <a:xfrm>
            <a:off x="5447928" y="1371759"/>
            <a:ext cx="6129341" cy="4954729"/>
          </a:xfrm>
          <a:prstGeom prst="rect">
            <a:avLst/>
          </a:prstGeom>
        </p:spPr>
      </p:pic>
    </p:spTree>
    <p:extLst>
      <p:ext uri="{BB962C8B-B14F-4D97-AF65-F5344CB8AC3E}">
        <p14:creationId xmlns:p14="http://schemas.microsoft.com/office/powerpoint/2010/main" val="15450009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r>
              <a:rPr lang="nl-NL" dirty="0"/>
              <a:t>What are your thoughts on RDF so far?</a:t>
            </a:r>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5320989" cy="4829080"/>
          </a:xfrm>
        </p:spPr>
        <p:txBody>
          <a:bodyPr/>
          <a:lstStyle/>
          <a:p>
            <a:pPr marL="285750" indent="-285750">
              <a:buFont typeface="Arial" panose="020B0604020202020204" pitchFamily="34" charset="0"/>
              <a:buChar char="•"/>
            </a:pPr>
            <a:r>
              <a:rPr lang="nl-NL" sz="1800" dirty="0"/>
              <a:t>Exotic?</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Any thoughts on why adoption has (presumably) been slow?</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Or has it?</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Discussion</a:t>
            </a:r>
          </a:p>
        </p:txBody>
      </p:sp>
      <p:pic>
        <p:nvPicPr>
          <p:cNvPr id="6" name="Picture 5">
            <a:hlinkClick r:id="rId2"/>
            <a:extLst>
              <a:ext uri="{FF2B5EF4-FFF2-40B4-BE49-F238E27FC236}">
                <a16:creationId xmlns:a16="http://schemas.microsoft.com/office/drawing/2014/main" id="{ED895FEF-F79C-A06D-6D00-565DA5057FC5}"/>
              </a:ext>
            </a:extLst>
          </p:cNvPr>
          <p:cNvPicPr>
            <a:picLocks noChangeAspect="1"/>
          </p:cNvPicPr>
          <p:nvPr/>
        </p:nvPicPr>
        <p:blipFill>
          <a:blip r:embed="rId3"/>
          <a:stretch>
            <a:fillRect/>
          </a:stretch>
        </p:blipFill>
        <p:spPr>
          <a:xfrm>
            <a:off x="6718342" y="664393"/>
            <a:ext cx="5039761" cy="3089401"/>
          </a:xfrm>
          <a:prstGeom prst="rect">
            <a:avLst/>
          </a:prstGeom>
        </p:spPr>
      </p:pic>
      <p:pic>
        <p:nvPicPr>
          <p:cNvPr id="8" name="Picture 7">
            <a:hlinkClick r:id="rId4"/>
            <a:extLst>
              <a:ext uri="{FF2B5EF4-FFF2-40B4-BE49-F238E27FC236}">
                <a16:creationId xmlns:a16="http://schemas.microsoft.com/office/drawing/2014/main" id="{463F5F9F-3A4F-ACF3-1483-218AEE9527D1}"/>
              </a:ext>
            </a:extLst>
          </p:cNvPr>
          <p:cNvPicPr>
            <a:picLocks noChangeAspect="1"/>
          </p:cNvPicPr>
          <p:nvPr/>
        </p:nvPicPr>
        <p:blipFill>
          <a:blip r:embed="rId5"/>
          <a:stretch>
            <a:fillRect/>
          </a:stretch>
        </p:blipFill>
        <p:spPr>
          <a:xfrm>
            <a:off x="5919177" y="1806783"/>
            <a:ext cx="4793396" cy="3219729"/>
          </a:xfrm>
          <a:prstGeom prst="rect">
            <a:avLst/>
          </a:prstGeom>
        </p:spPr>
      </p:pic>
      <p:pic>
        <p:nvPicPr>
          <p:cNvPr id="12" name="Picture 11">
            <a:hlinkClick r:id="rId6"/>
            <a:extLst>
              <a:ext uri="{FF2B5EF4-FFF2-40B4-BE49-F238E27FC236}">
                <a16:creationId xmlns:a16="http://schemas.microsoft.com/office/drawing/2014/main" id="{87092C37-9915-32FA-FA34-ACE031B94DCA}"/>
              </a:ext>
            </a:extLst>
          </p:cNvPr>
          <p:cNvPicPr>
            <a:picLocks noChangeAspect="1"/>
          </p:cNvPicPr>
          <p:nvPr/>
        </p:nvPicPr>
        <p:blipFill>
          <a:blip r:embed="rId7"/>
          <a:stretch>
            <a:fillRect/>
          </a:stretch>
        </p:blipFill>
        <p:spPr>
          <a:xfrm>
            <a:off x="4419550" y="2993976"/>
            <a:ext cx="4597583" cy="3089401"/>
          </a:xfrm>
          <a:prstGeom prst="rect">
            <a:avLst/>
          </a:prstGeom>
        </p:spPr>
      </p:pic>
      <p:pic>
        <p:nvPicPr>
          <p:cNvPr id="10" name="Picture 9">
            <a:hlinkClick r:id="rId8"/>
            <a:extLst>
              <a:ext uri="{FF2B5EF4-FFF2-40B4-BE49-F238E27FC236}">
                <a16:creationId xmlns:a16="http://schemas.microsoft.com/office/drawing/2014/main" id="{4A958559-2866-AEF3-88F1-9BBA4D968258}"/>
              </a:ext>
            </a:extLst>
          </p:cNvPr>
          <p:cNvPicPr>
            <a:picLocks noChangeAspect="1"/>
          </p:cNvPicPr>
          <p:nvPr/>
        </p:nvPicPr>
        <p:blipFill>
          <a:blip r:embed="rId9"/>
          <a:stretch>
            <a:fillRect/>
          </a:stretch>
        </p:blipFill>
        <p:spPr>
          <a:xfrm>
            <a:off x="7135580" y="3386831"/>
            <a:ext cx="4808637" cy="3071126"/>
          </a:xfrm>
          <a:prstGeom prst="rect">
            <a:avLst/>
          </a:prstGeom>
        </p:spPr>
      </p:pic>
    </p:spTree>
    <p:extLst>
      <p:ext uri="{BB962C8B-B14F-4D97-AF65-F5344CB8AC3E}">
        <p14:creationId xmlns:p14="http://schemas.microsoft.com/office/powerpoint/2010/main" val="3760060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p:txBody>
          <a:bodyPr/>
          <a:lstStyle/>
          <a:p>
            <a:pPr marL="285750" indent="-285750">
              <a:buFont typeface="Arial" panose="020B0604020202020204" pitchFamily="34" charset="0"/>
              <a:buChar char="•"/>
            </a:pPr>
            <a:r>
              <a:rPr lang="nl-NL" sz="1800" dirty="0">
                <a:hlinkClick r:id="rId2"/>
              </a:rPr>
              <a:t>https://5stardata.info/en/</a:t>
            </a:r>
            <a:endParaRPr lang="nl-NL" sz="1800" dirty="0"/>
          </a:p>
          <a:p>
            <a:pPr marL="285750" indent="-285750">
              <a:buFont typeface="Arial" panose="020B0604020202020204" pitchFamily="34" charset="0"/>
              <a:buChar char="•"/>
            </a:pPr>
            <a:r>
              <a:rPr lang="nl-NL" sz="1800" dirty="0">
                <a:hlinkClick r:id="rId3"/>
              </a:rPr>
              <a:t>https://www.w3.org/wiki/LinkedData</a:t>
            </a:r>
            <a:endParaRPr lang="nl-NL" sz="1800" dirty="0"/>
          </a:p>
          <a:p>
            <a:pPr marL="285750" indent="-285750">
              <a:buFont typeface="Arial" panose="020B0604020202020204" pitchFamily="34" charset="0"/>
              <a:buChar char="•"/>
            </a:pPr>
            <a:r>
              <a:rPr lang="nl-NL" sz="1800" dirty="0">
                <a:hlinkClick r:id="rId4"/>
              </a:rPr>
              <a:t>https://www.w3.org/TR/turtle/</a:t>
            </a: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ferences / Recommend reading</a:t>
            </a:r>
          </a:p>
        </p:txBody>
      </p:sp>
    </p:spTree>
    <p:extLst>
      <p:ext uri="{BB962C8B-B14F-4D97-AF65-F5344CB8AC3E}">
        <p14:creationId xmlns:p14="http://schemas.microsoft.com/office/powerpoint/2010/main" val="136745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7B65AB-7C1D-486C-B0D9-52715E4F9B6F}"/>
              </a:ext>
            </a:extLst>
          </p:cNvPr>
          <p:cNvSpPr>
            <a:spLocks noGrp="1"/>
          </p:cNvSpPr>
          <p:nvPr>
            <p:ph type="title"/>
          </p:nvPr>
        </p:nvSpPr>
        <p:spPr/>
        <p:txBody>
          <a:bodyPr/>
          <a:lstStyle/>
          <a:p>
            <a:r>
              <a:rPr lang="nl-NL" dirty="0"/>
              <a:t>House Rules</a:t>
            </a:r>
          </a:p>
        </p:txBody>
      </p:sp>
      <p:sp>
        <p:nvSpPr>
          <p:cNvPr id="5" name="TextBox 4">
            <a:extLst>
              <a:ext uri="{FF2B5EF4-FFF2-40B4-BE49-F238E27FC236}">
                <a16:creationId xmlns:a16="http://schemas.microsoft.com/office/drawing/2014/main" id="{C976CF38-40D1-E668-D653-D3F302106E96}"/>
              </a:ext>
            </a:extLst>
          </p:cNvPr>
          <p:cNvSpPr txBox="1"/>
          <p:nvPr/>
        </p:nvSpPr>
        <p:spPr>
          <a:xfrm>
            <a:off x="2843432" y="1614658"/>
            <a:ext cx="6912768" cy="952500"/>
          </a:xfrm>
          <a:prstGeom prst="rect">
            <a:avLst/>
          </a:prstGeom>
          <a:noFill/>
        </p:spPr>
        <p:txBody>
          <a:bodyPr wrap="square" rtlCol="0" anchor="ctr">
            <a:noAutofit/>
          </a:bodyPr>
          <a:lstStyle/>
          <a:p>
            <a:r>
              <a:rPr lang="en-GB" dirty="0">
                <a:solidFill>
                  <a:schemeClr val="bg1"/>
                </a:solidFill>
              </a:rPr>
              <a:t>Breaks every 60 minutes (or so)</a:t>
            </a:r>
          </a:p>
        </p:txBody>
      </p:sp>
      <p:sp>
        <p:nvSpPr>
          <p:cNvPr id="6" name="TextBox 5">
            <a:extLst>
              <a:ext uri="{FF2B5EF4-FFF2-40B4-BE49-F238E27FC236}">
                <a16:creationId xmlns:a16="http://schemas.microsoft.com/office/drawing/2014/main" id="{F70B7AC2-CF86-62CC-41F2-BF2E16357FFA}"/>
              </a:ext>
            </a:extLst>
          </p:cNvPr>
          <p:cNvSpPr txBox="1"/>
          <p:nvPr/>
        </p:nvSpPr>
        <p:spPr>
          <a:xfrm>
            <a:off x="2843432" y="4854658"/>
            <a:ext cx="6912768" cy="952500"/>
          </a:xfrm>
          <a:prstGeom prst="rect">
            <a:avLst/>
          </a:prstGeom>
          <a:noFill/>
        </p:spPr>
        <p:txBody>
          <a:bodyPr wrap="square" rtlCol="0" anchor="ctr">
            <a:noAutofit/>
          </a:bodyPr>
          <a:lstStyle/>
          <a:p>
            <a:r>
              <a:rPr lang="en-GB" dirty="0">
                <a:solidFill>
                  <a:schemeClr val="bg1"/>
                </a:solidFill>
              </a:rPr>
              <a:t>Minimize non-training information input...</a:t>
            </a:r>
          </a:p>
        </p:txBody>
      </p:sp>
      <p:sp>
        <p:nvSpPr>
          <p:cNvPr id="7" name="TextBox 6">
            <a:extLst>
              <a:ext uri="{FF2B5EF4-FFF2-40B4-BE49-F238E27FC236}">
                <a16:creationId xmlns:a16="http://schemas.microsoft.com/office/drawing/2014/main" id="{1AA1DA83-3B36-1B0C-575C-3D6878B97096}"/>
              </a:ext>
            </a:extLst>
          </p:cNvPr>
          <p:cNvSpPr txBox="1"/>
          <p:nvPr/>
        </p:nvSpPr>
        <p:spPr>
          <a:xfrm>
            <a:off x="2843432" y="3774658"/>
            <a:ext cx="6912768" cy="952500"/>
          </a:xfrm>
          <a:prstGeom prst="rect">
            <a:avLst/>
          </a:prstGeom>
          <a:noFill/>
        </p:spPr>
        <p:txBody>
          <a:bodyPr wrap="square" rtlCol="0" anchor="ctr">
            <a:noAutofit/>
          </a:bodyPr>
          <a:lstStyle/>
          <a:p>
            <a:r>
              <a:rPr lang="en-GB" dirty="0">
                <a:solidFill>
                  <a:schemeClr val="bg1"/>
                </a:solidFill>
              </a:rPr>
              <a:t>Ask questions at any time</a:t>
            </a:r>
          </a:p>
        </p:txBody>
      </p:sp>
      <p:sp>
        <p:nvSpPr>
          <p:cNvPr id="8" name="TextBox 7">
            <a:extLst>
              <a:ext uri="{FF2B5EF4-FFF2-40B4-BE49-F238E27FC236}">
                <a16:creationId xmlns:a16="http://schemas.microsoft.com/office/drawing/2014/main" id="{B845A1B4-E75D-1BF1-ED31-D2EE4B8F9850}"/>
              </a:ext>
            </a:extLst>
          </p:cNvPr>
          <p:cNvSpPr txBox="1"/>
          <p:nvPr/>
        </p:nvSpPr>
        <p:spPr>
          <a:xfrm>
            <a:off x="2843432" y="2694658"/>
            <a:ext cx="6912768" cy="952500"/>
          </a:xfrm>
          <a:prstGeom prst="rect">
            <a:avLst/>
          </a:prstGeom>
          <a:noFill/>
        </p:spPr>
        <p:txBody>
          <a:bodyPr wrap="square" rtlCol="0" anchor="ctr">
            <a:noAutofit/>
          </a:bodyPr>
          <a:lstStyle/>
          <a:p>
            <a:r>
              <a:rPr lang="en-GB" dirty="0">
                <a:solidFill>
                  <a:schemeClr val="bg1"/>
                </a:solidFill>
              </a:rPr>
              <a:t>Lunch at …</a:t>
            </a:r>
          </a:p>
        </p:txBody>
      </p:sp>
      <p:grpSp>
        <p:nvGrpSpPr>
          <p:cNvPr id="9" name="Group 8">
            <a:extLst>
              <a:ext uri="{FF2B5EF4-FFF2-40B4-BE49-F238E27FC236}">
                <a16:creationId xmlns:a16="http://schemas.microsoft.com/office/drawing/2014/main" id="{9E6BD58C-A704-682C-4F5B-F530AF2A0F16}"/>
              </a:ext>
            </a:extLst>
          </p:cNvPr>
          <p:cNvGrpSpPr/>
          <p:nvPr/>
        </p:nvGrpSpPr>
        <p:grpSpPr>
          <a:xfrm>
            <a:off x="1818433" y="1591890"/>
            <a:ext cx="987552" cy="1024128"/>
            <a:chOff x="3112967" y="5328537"/>
            <a:chExt cx="1241641" cy="1266288"/>
          </a:xfrm>
        </p:grpSpPr>
        <p:sp>
          <p:nvSpPr>
            <p:cNvPr id="10" name="Oval 9">
              <a:extLst>
                <a:ext uri="{FF2B5EF4-FFF2-40B4-BE49-F238E27FC236}">
                  <a16:creationId xmlns:a16="http://schemas.microsoft.com/office/drawing/2014/main" id="{003FAB60-F87A-4871-503F-B548C4B46B2D}"/>
                </a:ext>
              </a:extLst>
            </p:cNvPr>
            <p:cNvSpPr/>
            <p:nvPr/>
          </p:nvSpPr>
          <p:spPr>
            <a:xfrm>
              <a:off x="3112967" y="5328537"/>
              <a:ext cx="1241641" cy="1266288"/>
            </a:xfrm>
            <a:prstGeom prst="ellipse">
              <a:avLst/>
            </a:prstGeom>
            <a:solidFill>
              <a:srgbClr val="2B14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nvGrpSpPr>
            <p:cNvPr id="11" name="Groupe 877">
              <a:extLst>
                <a:ext uri="{FF2B5EF4-FFF2-40B4-BE49-F238E27FC236}">
                  <a16:creationId xmlns:a16="http://schemas.microsoft.com/office/drawing/2014/main" id="{47A0FCD4-F22D-BFBE-7D40-AB0C7CAFAF4B}"/>
                </a:ext>
              </a:extLst>
            </p:cNvPr>
            <p:cNvGrpSpPr/>
            <p:nvPr/>
          </p:nvGrpSpPr>
          <p:grpSpPr>
            <a:xfrm>
              <a:off x="3421623" y="5496737"/>
              <a:ext cx="750644" cy="768470"/>
              <a:chOff x="9891713" y="4013200"/>
              <a:chExt cx="601662" cy="615950"/>
            </a:xfrm>
          </p:grpSpPr>
          <p:sp>
            <p:nvSpPr>
              <p:cNvPr id="12" name="Freeform 247">
                <a:extLst>
                  <a:ext uri="{FF2B5EF4-FFF2-40B4-BE49-F238E27FC236}">
                    <a16:creationId xmlns:a16="http://schemas.microsoft.com/office/drawing/2014/main" id="{23BD7052-17E1-7B98-D00D-CA8130C2BB98}"/>
                  </a:ext>
                </a:extLst>
              </p:cNvPr>
              <p:cNvSpPr>
                <a:spLocks/>
              </p:cNvSpPr>
              <p:nvPr/>
            </p:nvSpPr>
            <p:spPr bwMode="auto">
              <a:xfrm>
                <a:off x="9891713" y="4310063"/>
                <a:ext cx="477838" cy="319087"/>
              </a:xfrm>
              <a:custGeom>
                <a:avLst/>
                <a:gdLst>
                  <a:gd name="T0" fmla="*/ 127 w 127"/>
                  <a:gd name="T1" fmla="*/ 0 h 85"/>
                  <a:gd name="T2" fmla="*/ 119 w 127"/>
                  <a:gd name="T3" fmla="*/ 43 h 85"/>
                  <a:gd name="T4" fmla="*/ 97 w 127"/>
                  <a:gd name="T5" fmla="*/ 81 h 85"/>
                  <a:gd name="T6" fmla="*/ 95 w 127"/>
                  <a:gd name="T7" fmla="*/ 85 h 85"/>
                  <a:gd name="T8" fmla="*/ 31 w 127"/>
                  <a:gd name="T9" fmla="*/ 85 h 85"/>
                  <a:gd name="T10" fmla="*/ 29 w 127"/>
                  <a:gd name="T11" fmla="*/ 81 h 85"/>
                  <a:gd name="T12" fmla="*/ 7 w 127"/>
                  <a:gd name="T13" fmla="*/ 43 h 85"/>
                  <a:gd name="T14" fmla="*/ 0 w 127"/>
                  <a:gd name="T15" fmla="*/ 0 h 85"/>
                  <a:gd name="T16" fmla="*/ 127 w 127"/>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85">
                    <a:moveTo>
                      <a:pt x="127" y="0"/>
                    </a:moveTo>
                    <a:cubicBezTo>
                      <a:pt x="127" y="8"/>
                      <a:pt x="123" y="32"/>
                      <a:pt x="119" y="43"/>
                    </a:cubicBezTo>
                    <a:cubicBezTo>
                      <a:pt x="114" y="53"/>
                      <a:pt x="101" y="78"/>
                      <a:pt x="97" y="81"/>
                    </a:cubicBezTo>
                    <a:cubicBezTo>
                      <a:pt x="96" y="82"/>
                      <a:pt x="95" y="84"/>
                      <a:pt x="95" y="85"/>
                    </a:cubicBezTo>
                    <a:cubicBezTo>
                      <a:pt x="31" y="85"/>
                      <a:pt x="31" y="85"/>
                      <a:pt x="31" y="85"/>
                    </a:cubicBezTo>
                    <a:cubicBezTo>
                      <a:pt x="31" y="84"/>
                      <a:pt x="30" y="82"/>
                      <a:pt x="29" y="81"/>
                    </a:cubicBezTo>
                    <a:cubicBezTo>
                      <a:pt x="26" y="78"/>
                      <a:pt x="12" y="53"/>
                      <a:pt x="7" y="43"/>
                    </a:cubicBezTo>
                    <a:cubicBezTo>
                      <a:pt x="3" y="32"/>
                      <a:pt x="0" y="8"/>
                      <a:pt x="0" y="0"/>
                    </a:cubicBezTo>
                    <a:lnTo>
                      <a:pt x="127" y="0"/>
                    </a:lnTo>
                    <a:close/>
                  </a:path>
                </a:pathLst>
              </a:custGeom>
              <a:solidFill>
                <a:srgbClr val="E535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 name="Freeform 248">
                <a:extLst>
                  <a:ext uri="{FF2B5EF4-FFF2-40B4-BE49-F238E27FC236}">
                    <a16:creationId xmlns:a16="http://schemas.microsoft.com/office/drawing/2014/main" id="{70855CC4-21B2-CD69-8893-BA6036FB4D0F}"/>
                  </a:ext>
                </a:extLst>
              </p:cNvPr>
              <p:cNvSpPr>
                <a:spLocks/>
              </p:cNvSpPr>
              <p:nvPr/>
            </p:nvSpPr>
            <p:spPr bwMode="auto">
              <a:xfrm>
                <a:off x="10267950" y="4329113"/>
                <a:ext cx="225425" cy="255587"/>
              </a:xfrm>
              <a:custGeom>
                <a:avLst/>
                <a:gdLst>
                  <a:gd name="T0" fmla="*/ 25 w 60"/>
                  <a:gd name="T1" fmla="*/ 5 h 68"/>
                  <a:gd name="T2" fmla="*/ 44 w 60"/>
                  <a:gd name="T3" fmla="*/ 5 h 68"/>
                  <a:gd name="T4" fmla="*/ 54 w 60"/>
                  <a:gd name="T5" fmla="*/ 31 h 68"/>
                  <a:gd name="T6" fmla="*/ 11 w 60"/>
                  <a:gd name="T7" fmla="*/ 61 h 68"/>
                  <a:gd name="T8" fmla="*/ 0 w 60"/>
                  <a:gd name="T9" fmla="*/ 65 h 68"/>
                  <a:gd name="T10" fmla="*/ 9 w 60"/>
                  <a:gd name="T11" fmla="*/ 50 h 68"/>
                  <a:gd name="T12" fmla="*/ 49 w 60"/>
                  <a:gd name="T13" fmla="*/ 21 h 68"/>
                  <a:gd name="T14" fmla="*/ 26 w 60"/>
                  <a:gd name="T15" fmla="*/ 21 h 68"/>
                  <a:gd name="T16" fmla="*/ 20 w 60"/>
                  <a:gd name="T17" fmla="*/ 23 h 68"/>
                  <a:gd name="T18" fmla="*/ 25 w 60"/>
                  <a:gd name="T19"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8">
                    <a:moveTo>
                      <a:pt x="25" y="5"/>
                    </a:moveTo>
                    <a:cubicBezTo>
                      <a:pt x="25" y="5"/>
                      <a:pt x="33" y="0"/>
                      <a:pt x="44" y="5"/>
                    </a:cubicBezTo>
                    <a:cubicBezTo>
                      <a:pt x="58" y="10"/>
                      <a:pt x="60" y="23"/>
                      <a:pt x="54" y="31"/>
                    </a:cubicBezTo>
                    <a:cubicBezTo>
                      <a:pt x="39" y="54"/>
                      <a:pt x="14" y="57"/>
                      <a:pt x="11" y="61"/>
                    </a:cubicBezTo>
                    <a:cubicBezTo>
                      <a:pt x="9" y="64"/>
                      <a:pt x="5" y="68"/>
                      <a:pt x="0" y="65"/>
                    </a:cubicBezTo>
                    <a:cubicBezTo>
                      <a:pt x="9" y="50"/>
                      <a:pt x="9" y="50"/>
                      <a:pt x="9" y="50"/>
                    </a:cubicBezTo>
                    <a:cubicBezTo>
                      <a:pt x="9" y="50"/>
                      <a:pt x="51" y="44"/>
                      <a:pt x="49" y="21"/>
                    </a:cubicBezTo>
                    <a:cubicBezTo>
                      <a:pt x="48" y="8"/>
                      <a:pt x="33" y="6"/>
                      <a:pt x="26" y="21"/>
                    </a:cubicBezTo>
                    <a:cubicBezTo>
                      <a:pt x="24" y="23"/>
                      <a:pt x="19" y="26"/>
                      <a:pt x="20" y="23"/>
                    </a:cubicBezTo>
                    <a:cubicBezTo>
                      <a:pt x="21" y="20"/>
                      <a:pt x="25" y="5"/>
                      <a:pt x="25" y="5"/>
                    </a:cubicBezTo>
                    <a:close/>
                  </a:path>
                </a:pathLst>
              </a:custGeom>
              <a:solidFill>
                <a:srgbClr val="E535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 name="Freeform 249">
                <a:extLst>
                  <a:ext uri="{FF2B5EF4-FFF2-40B4-BE49-F238E27FC236}">
                    <a16:creationId xmlns:a16="http://schemas.microsoft.com/office/drawing/2014/main" id="{1BF31B76-99A4-3BCF-E1D3-63236A1655D7}"/>
                  </a:ext>
                </a:extLst>
              </p:cNvPr>
              <p:cNvSpPr>
                <a:spLocks/>
              </p:cNvSpPr>
              <p:nvPr/>
            </p:nvSpPr>
            <p:spPr bwMode="auto">
              <a:xfrm>
                <a:off x="10053638" y="4087813"/>
                <a:ext cx="63500" cy="203200"/>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250">
                <a:extLst>
                  <a:ext uri="{FF2B5EF4-FFF2-40B4-BE49-F238E27FC236}">
                    <a16:creationId xmlns:a16="http://schemas.microsoft.com/office/drawing/2014/main" id="{DBAD59CB-4464-014B-3BF6-8BE4A0C46BDE}"/>
                  </a:ext>
                </a:extLst>
              </p:cNvPr>
              <p:cNvSpPr>
                <a:spLocks/>
              </p:cNvSpPr>
              <p:nvPr/>
            </p:nvSpPr>
            <p:spPr bwMode="auto">
              <a:xfrm>
                <a:off x="10140950" y="4046538"/>
                <a:ext cx="66675" cy="203200"/>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 name="Freeform 251">
                <a:extLst>
                  <a:ext uri="{FF2B5EF4-FFF2-40B4-BE49-F238E27FC236}">
                    <a16:creationId xmlns:a16="http://schemas.microsoft.com/office/drawing/2014/main" id="{283801A4-8396-51DB-EE18-FB56A170ED4F}"/>
                  </a:ext>
                </a:extLst>
              </p:cNvPr>
              <p:cNvSpPr>
                <a:spLocks/>
              </p:cNvSpPr>
              <p:nvPr/>
            </p:nvSpPr>
            <p:spPr bwMode="auto">
              <a:xfrm>
                <a:off x="10094913" y="4013200"/>
                <a:ext cx="74613" cy="285750"/>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17" name="Group 16">
            <a:extLst>
              <a:ext uri="{FF2B5EF4-FFF2-40B4-BE49-F238E27FC236}">
                <a16:creationId xmlns:a16="http://schemas.microsoft.com/office/drawing/2014/main" id="{BCB7E8BB-ED2C-3C72-EA89-32F466C91155}"/>
              </a:ext>
            </a:extLst>
          </p:cNvPr>
          <p:cNvGrpSpPr/>
          <p:nvPr/>
        </p:nvGrpSpPr>
        <p:grpSpPr>
          <a:xfrm>
            <a:off x="638994" y="1612438"/>
            <a:ext cx="987552" cy="1024128"/>
            <a:chOff x="1486532" y="1177417"/>
            <a:chExt cx="1224136" cy="1224136"/>
          </a:xfrm>
        </p:grpSpPr>
        <p:grpSp>
          <p:nvGrpSpPr>
            <p:cNvPr id="18" name="Group 17">
              <a:extLst>
                <a:ext uri="{FF2B5EF4-FFF2-40B4-BE49-F238E27FC236}">
                  <a16:creationId xmlns:a16="http://schemas.microsoft.com/office/drawing/2014/main" id="{DFD90E1A-F00B-1973-480D-BA94F97D99C3}"/>
                </a:ext>
              </a:extLst>
            </p:cNvPr>
            <p:cNvGrpSpPr/>
            <p:nvPr/>
          </p:nvGrpSpPr>
          <p:grpSpPr>
            <a:xfrm>
              <a:off x="1486532" y="1177417"/>
              <a:ext cx="1224136" cy="1224136"/>
              <a:chOff x="1470132" y="3924006"/>
              <a:chExt cx="1224136" cy="1224136"/>
            </a:xfrm>
          </p:grpSpPr>
          <p:sp>
            <p:nvSpPr>
              <p:cNvPr id="27" name="Oval 26">
                <a:extLst>
                  <a:ext uri="{FF2B5EF4-FFF2-40B4-BE49-F238E27FC236}">
                    <a16:creationId xmlns:a16="http://schemas.microsoft.com/office/drawing/2014/main" id="{9778C6CD-9876-4EEC-BDA5-F2E348A219B6}"/>
                  </a:ext>
                </a:extLst>
              </p:cNvPr>
              <p:cNvSpPr/>
              <p:nvPr/>
            </p:nvSpPr>
            <p:spPr>
              <a:xfrm>
                <a:off x="1470132" y="3924006"/>
                <a:ext cx="1224136" cy="1224136"/>
              </a:xfrm>
              <a:prstGeom prst="ellipse">
                <a:avLst/>
              </a:prstGeom>
              <a:solidFill>
                <a:srgbClr val="2B14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nvGrpSpPr>
              <p:cNvPr id="28" name="Groupe 301">
                <a:extLst>
                  <a:ext uri="{FF2B5EF4-FFF2-40B4-BE49-F238E27FC236}">
                    <a16:creationId xmlns:a16="http://schemas.microsoft.com/office/drawing/2014/main" id="{0CC53D1C-AF9D-E5F0-4FAB-A9A52AC709F1}"/>
                  </a:ext>
                </a:extLst>
              </p:cNvPr>
              <p:cNvGrpSpPr/>
              <p:nvPr/>
            </p:nvGrpSpPr>
            <p:grpSpPr>
              <a:xfrm>
                <a:off x="1766530" y="4611919"/>
                <a:ext cx="617004" cy="106592"/>
                <a:chOff x="6632575" y="4500563"/>
                <a:chExt cx="477838" cy="82550"/>
              </a:xfrm>
            </p:grpSpPr>
            <p:sp>
              <p:nvSpPr>
                <p:cNvPr id="29" name="Freeform 279">
                  <a:extLst>
                    <a:ext uri="{FF2B5EF4-FFF2-40B4-BE49-F238E27FC236}">
                      <a16:creationId xmlns:a16="http://schemas.microsoft.com/office/drawing/2014/main" id="{0AF6639B-4895-C0EC-DD75-5CBFBE4B7EE4}"/>
                    </a:ext>
                  </a:extLst>
                </p:cNvPr>
                <p:cNvSpPr>
                  <a:spLocks/>
                </p:cNvSpPr>
                <p:nvPr/>
              </p:nvSpPr>
              <p:spPr bwMode="auto">
                <a:xfrm>
                  <a:off x="6632575" y="4500563"/>
                  <a:ext cx="53975" cy="79375"/>
                </a:xfrm>
                <a:custGeom>
                  <a:avLst/>
                  <a:gdLst>
                    <a:gd name="T0" fmla="*/ 15 w 16"/>
                    <a:gd name="T1" fmla="*/ 4 h 23"/>
                    <a:gd name="T2" fmla="*/ 13 w 16"/>
                    <a:gd name="T3" fmla="*/ 2 h 23"/>
                    <a:gd name="T4" fmla="*/ 11 w 16"/>
                    <a:gd name="T5" fmla="*/ 1 h 23"/>
                    <a:gd name="T6" fmla="*/ 8 w 16"/>
                    <a:gd name="T7" fmla="*/ 0 h 23"/>
                    <a:gd name="T8" fmla="*/ 4 w 16"/>
                    <a:gd name="T9" fmla="*/ 1 h 23"/>
                    <a:gd name="T10" fmla="*/ 0 w 16"/>
                    <a:gd name="T11" fmla="*/ 3 h 23"/>
                    <a:gd name="T12" fmla="*/ 3 w 16"/>
                    <a:gd name="T13" fmla="*/ 7 h 23"/>
                    <a:gd name="T14" fmla="*/ 3 w 16"/>
                    <a:gd name="T15" fmla="*/ 6 h 23"/>
                    <a:gd name="T16" fmla="*/ 5 w 16"/>
                    <a:gd name="T17" fmla="*/ 5 h 23"/>
                    <a:gd name="T18" fmla="*/ 6 w 16"/>
                    <a:gd name="T19" fmla="*/ 5 h 23"/>
                    <a:gd name="T20" fmla="*/ 7 w 16"/>
                    <a:gd name="T21" fmla="*/ 4 h 23"/>
                    <a:gd name="T22" fmla="*/ 9 w 16"/>
                    <a:gd name="T23" fmla="*/ 5 h 23"/>
                    <a:gd name="T24" fmla="*/ 10 w 16"/>
                    <a:gd name="T25" fmla="*/ 7 h 23"/>
                    <a:gd name="T26" fmla="*/ 10 w 16"/>
                    <a:gd name="T27" fmla="*/ 8 h 23"/>
                    <a:gd name="T28" fmla="*/ 9 w 16"/>
                    <a:gd name="T29" fmla="*/ 10 h 23"/>
                    <a:gd name="T30" fmla="*/ 8 w 16"/>
                    <a:gd name="T31" fmla="*/ 11 h 23"/>
                    <a:gd name="T32" fmla="*/ 7 w 16"/>
                    <a:gd name="T33" fmla="*/ 12 h 23"/>
                    <a:gd name="T34" fmla="*/ 5 w 16"/>
                    <a:gd name="T35" fmla="*/ 14 h 23"/>
                    <a:gd name="T36" fmla="*/ 3 w 16"/>
                    <a:gd name="T37" fmla="*/ 16 h 23"/>
                    <a:gd name="T38" fmla="*/ 1 w 16"/>
                    <a:gd name="T39" fmla="*/ 19 h 23"/>
                    <a:gd name="T40" fmla="*/ 1 w 16"/>
                    <a:gd name="T41" fmla="*/ 21 h 23"/>
                    <a:gd name="T42" fmla="*/ 1 w 16"/>
                    <a:gd name="T43" fmla="*/ 22 h 23"/>
                    <a:gd name="T44" fmla="*/ 1 w 16"/>
                    <a:gd name="T45" fmla="*/ 23 h 23"/>
                    <a:gd name="T46" fmla="*/ 16 w 16"/>
                    <a:gd name="T47" fmla="*/ 23 h 23"/>
                    <a:gd name="T48" fmla="*/ 16 w 16"/>
                    <a:gd name="T49" fmla="*/ 19 h 23"/>
                    <a:gd name="T50" fmla="*/ 6 w 16"/>
                    <a:gd name="T51" fmla="*/ 19 h 23"/>
                    <a:gd name="T52" fmla="*/ 7 w 16"/>
                    <a:gd name="T53" fmla="*/ 18 h 23"/>
                    <a:gd name="T54" fmla="*/ 8 w 16"/>
                    <a:gd name="T55" fmla="*/ 17 h 23"/>
                    <a:gd name="T56" fmla="*/ 9 w 16"/>
                    <a:gd name="T57" fmla="*/ 16 h 23"/>
                    <a:gd name="T58" fmla="*/ 10 w 16"/>
                    <a:gd name="T59" fmla="*/ 15 h 23"/>
                    <a:gd name="T60" fmla="*/ 12 w 16"/>
                    <a:gd name="T61" fmla="*/ 13 h 23"/>
                    <a:gd name="T62" fmla="*/ 13 w 16"/>
                    <a:gd name="T63" fmla="*/ 11 h 23"/>
                    <a:gd name="T64" fmla="*/ 15 w 16"/>
                    <a:gd name="T65" fmla="*/ 9 h 23"/>
                    <a:gd name="T66" fmla="*/ 15 w 16"/>
                    <a:gd name="T67" fmla="*/ 7 h 23"/>
                    <a:gd name="T68" fmla="*/ 15 w 16"/>
                    <a:gd name="T6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 h="23">
                      <a:moveTo>
                        <a:pt x="15" y="4"/>
                      </a:moveTo>
                      <a:cubicBezTo>
                        <a:pt x="14" y="3"/>
                        <a:pt x="14" y="3"/>
                        <a:pt x="13" y="2"/>
                      </a:cubicBezTo>
                      <a:cubicBezTo>
                        <a:pt x="13" y="2"/>
                        <a:pt x="12" y="1"/>
                        <a:pt x="11" y="1"/>
                      </a:cubicBezTo>
                      <a:cubicBezTo>
                        <a:pt x="10" y="1"/>
                        <a:pt x="9" y="0"/>
                        <a:pt x="8" y="0"/>
                      </a:cubicBezTo>
                      <a:cubicBezTo>
                        <a:pt x="6" y="0"/>
                        <a:pt x="5" y="1"/>
                        <a:pt x="4" y="1"/>
                      </a:cubicBezTo>
                      <a:cubicBezTo>
                        <a:pt x="2" y="2"/>
                        <a:pt x="1" y="3"/>
                        <a:pt x="0" y="3"/>
                      </a:cubicBezTo>
                      <a:cubicBezTo>
                        <a:pt x="3" y="7"/>
                        <a:pt x="3" y="7"/>
                        <a:pt x="3" y="7"/>
                      </a:cubicBezTo>
                      <a:cubicBezTo>
                        <a:pt x="3" y="7"/>
                        <a:pt x="3" y="6"/>
                        <a:pt x="3" y="6"/>
                      </a:cubicBezTo>
                      <a:cubicBezTo>
                        <a:pt x="4" y="6"/>
                        <a:pt x="4" y="6"/>
                        <a:pt x="5" y="5"/>
                      </a:cubicBezTo>
                      <a:cubicBezTo>
                        <a:pt x="5" y="5"/>
                        <a:pt x="5" y="5"/>
                        <a:pt x="6" y="5"/>
                      </a:cubicBezTo>
                      <a:cubicBezTo>
                        <a:pt x="6" y="5"/>
                        <a:pt x="7" y="4"/>
                        <a:pt x="7" y="4"/>
                      </a:cubicBezTo>
                      <a:cubicBezTo>
                        <a:pt x="8" y="4"/>
                        <a:pt x="9" y="5"/>
                        <a:pt x="9" y="5"/>
                      </a:cubicBezTo>
                      <a:cubicBezTo>
                        <a:pt x="10" y="5"/>
                        <a:pt x="10" y="6"/>
                        <a:pt x="10" y="7"/>
                      </a:cubicBezTo>
                      <a:cubicBezTo>
                        <a:pt x="10" y="7"/>
                        <a:pt x="10" y="8"/>
                        <a:pt x="10" y="8"/>
                      </a:cubicBezTo>
                      <a:cubicBezTo>
                        <a:pt x="10" y="9"/>
                        <a:pt x="10" y="9"/>
                        <a:pt x="9" y="10"/>
                      </a:cubicBezTo>
                      <a:cubicBezTo>
                        <a:pt x="9" y="10"/>
                        <a:pt x="8" y="10"/>
                        <a:pt x="8" y="11"/>
                      </a:cubicBezTo>
                      <a:cubicBezTo>
                        <a:pt x="8" y="11"/>
                        <a:pt x="7" y="12"/>
                        <a:pt x="7" y="12"/>
                      </a:cubicBezTo>
                      <a:cubicBezTo>
                        <a:pt x="6" y="13"/>
                        <a:pt x="5" y="13"/>
                        <a:pt x="5" y="14"/>
                      </a:cubicBezTo>
                      <a:cubicBezTo>
                        <a:pt x="4" y="15"/>
                        <a:pt x="3" y="15"/>
                        <a:pt x="3" y="16"/>
                      </a:cubicBezTo>
                      <a:cubicBezTo>
                        <a:pt x="2" y="17"/>
                        <a:pt x="2" y="18"/>
                        <a:pt x="1" y="19"/>
                      </a:cubicBezTo>
                      <a:cubicBezTo>
                        <a:pt x="1" y="19"/>
                        <a:pt x="1" y="20"/>
                        <a:pt x="1" y="21"/>
                      </a:cubicBezTo>
                      <a:cubicBezTo>
                        <a:pt x="1" y="22"/>
                        <a:pt x="1" y="22"/>
                        <a:pt x="1" y="22"/>
                      </a:cubicBezTo>
                      <a:cubicBezTo>
                        <a:pt x="1" y="23"/>
                        <a:pt x="1" y="23"/>
                        <a:pt x="1" y="23"/>
                      </a:cubicBezTo>
                      <a:cubicBezTo>
                        <a:pt x="16" y="23"/>
                        <a:pt x="16" y="23"/>
                        <a:pt x="16" y="23"/>
                      </a:cubicBezTo>
                      <a:cubicBezTo>
                        <a:pt x="16" y="19"/>
                        <a:pt x="16" y="19"/>
                        <a:pt x="16" y="19"/>
                      </a:cubicBezTo>
                      <a:cubicBezTo>
                        <a:pt x="6" y="19"/>
                        <a:pt x="6" y="19"/>
                        <a:pt x="6" y="19"/>
                      </a:cubicBezTo>
                      <a:cubicBezTo>
                        <a:pt x="6" y="19"/>
                        <a:pt x="7" y="19"/>
                        <a:pt x="7" y="18"/>
                      </a:cubicBezTo>
                      <a:cubicBezTo>
                        <a:pt x="7" y="18"/>
                        <a:pt x="7" y="18"/>
                        <a:pt x="8" y="17"/>
                      </a:cubicBezTo>
                      <a:cubicBezTo>
                        <a:pt x="8" y="17"/>
                        <a:pt x="8" y="16"/>
                        <a:pt x="9" y="16"/>
                      </a:cubicBezTo>
                      <a:cubicBezTo>
                        <a:pt x="9" y="16"/>
                        <a:pt x="9" y="15"/>
                        <a:pt x="10" y="15"/>
                      </a:cubicBezTo>
                      <a:cubicBezTo>
                        <a:pt x="10" y="14"/>
                        <a:pt x="11" y="14"/>
                        <a:pt x="12" y="13"/>
                      </a:cubicBezTo>
                      <a:cubicBezTo>
                        <a:pt x="12" y="13"/>
                        <a:pt x="13" y="12"/>
                        <a:pt x="13" y="11"/>
                      </a:cubicBezTo>
                      <a:cubicBezTo>
                        <a:pt x="14" y="11"/>
                        <a:pt x="14" y="10"/>
                        <a:pt x="15" y="9"/>
                      </a:cubicBezTo>
                      <a:cubicBezTo>
                        <a:pt x="15" y="8"/>
                        <a:pt x="15" y="8"/>
                        <a:pt x="15" y="7"/>
                      </a:cubicBezTo>
                      <a:cubicBezTo>
                        <a:pt x="15" y="6"/>
                        <a:pt x="15" y="5"/>
                        <a:pt x="15" y="4"/>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0" name="Freeform 280">
                  <a:extLst>
                    <a:ext uri="{FF2B5EF4-FFF2-40B4-BE49-F238E27FC236}">
                      <a16:creationId xmlns:a16="http://schemas.microsoft.com/office/drawing/2014/main" id="{F9DC82ED-7AC1-E812-981F-2F178F71A469}"/>
                    </a:ext>
                  </a:extLst>
                </p:cNvPr>
                <p:cNvSpPr>
                  <a:spLocks/>
                </p:cNvSpPr>
                <p:nvPr/>
              </p:nvSpPr>
              <p:spPr bwMode="auto">
                <a:xfrm>
                  <a:off x="6853238" y="4503738"/>
                  <a:ext cx="36513" cy="76200"/>
                </a:xfrm>
                <a:custGeom>
                  <a:avLst/>
                  <a:gdLst>
                    <a:gd name="T0" fmla="*/ 2 w 11"/>
                    <a:gd name="T1" fmla="*/ 8 h 22"/>
                    <a:gd name="T2" fmla="*/ 4 w 11"/>
                    <a:gd name="T3" fmla="*/ 7 h 22"/>
                    <a:gd name="T4" fmla="*/ 6 w 11"/>
                    <a:gd name="T5" fmla="*/ 6 h 22"/>
                    <a:gd name="T6" fmla="*/ 6 w 11"/>
                    <a:gd name="T7" fmla="*/ 22 h 22"/>
                    <a:gd name="T8" fmla="*/ 11 w 11"/>
                    <a:gd name="T9" fmla="*/ 22 h 22"/>
                    <a:gd name="T10" fmla="*/ 11 w 11"/>
                    <a:gd name="T11" fmla="*/ 0 h 22"/>
                    <a:gd name="T12" fmla="*/ 8 w 11"/>
                    <a:gd name="T13" fmla="*/ 0 h 22"/>
                    <a:gd name="T14" fmla="*/ 6 w 11"/>
                    <a:gd name="T15" fmla="*/ 1 h 22"/>
                    <a:gd name="T16" fmla="*/ 4 w 11"/>
                    <a:gd name="T17" fmla="*/ 3 h 22"/>
                    <a:gd name="T18" fmla="*/ 2 w 11"/>
                    <a:gd name="T19" fmla="*/ 4 h 22"/>
                    <a:gd name="T20" fmla="*/ 0 w 11"/>
                    <a:gd name="T21" fmla="*/ 4 h 22"/>
                    <a:gd name="T22" fmla="*/ 2 w 11"/>
                    <a:gd name="T23"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2">
                      <a:moveTo>
                        <a:pt x="2" y="8"/>
                      </a:moveTo>
                      <a:cubicBezTo>
                        <a:pt x="2" y="8"/>
                        <a:pt x="3" y="8"/>
                        <a:pt x="4" y="7"/>
                      </a:cubicBezTo>
                      <a:cubicBezTo>
                        <a:pt x="5" y="7"/>
                        <a:pt x="5" y="7"/>
                        <a:pt x="6" y="6"/>
                      </a:cubicBezTo>
                      <a:cubicBezTo>
                        <a:pt x="6" y="22"/>
                        <a:pt x="6" y="22"/>
                        <a:pt x="6" y="22"/>
                      </a:cubicBezTo>
                      <a:cubicBezTo>
                        <a:pt x="11" y="22"/>
                        <a:pt x="11" y="22"/>
                        <a:pt x="11" y="22"/>
                      </a:cubicBezTo>
                      <a:cubicBezTo>
                        <a:pt x="11" y="0"/>
                        <a:pt x="11" y="0"/>
                        <a:pt x="11" y="0"/>
                      </a:cubicBezTo>
                      <a:cubicBezTo>
                        <a:pt x="8" y="0"/>
                        <a:pt x="8" y="0"/>
                        <a:pt x="8" y="0"/>
                      </a:cubicBezTo>
                      <a:cubicBezTo>
                        <a:pt x="7" y="0"/>
                        <a:pt x="7" y="1"/>
                        <a:pt x="6" y="1"/>
                      </a:cubicBezTo>
                      <a:cubicBezTo>
                        <a:pt x="5" y="2"/>
                        <a:pt x="5" y="2"/>
                        <a:pt x="4" y="3"/>
                      </a:cubicBezTo>
                      <a:cubicBezTo>
                        <a:pt x="3" y="3"/>
                        <a:pt x="3" y="3"/>
                        <a:pt x="2" y="4"/>
                      </a:cubicBezTo>
                      <a:cubicBezTo>
                        <a:pt x="1" y="4"/>
                        <a:pt x="1" y="4"/>
                        <a:pt x="0" y="4"/>
                      </a:cubicBezTo>
                      <a:cubicBezTo>
                        <a:pt x="2" y="8"/>
                        <a:pt x="2" y="8"/>
                        <a:pt x="2" y="8"/>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281">
                  <a:extLst>
                    <a:ext uri="{FF2B5EF4-FFF2-40B4-BE49-F238E27FC236}">
                      <a16:creationId xmlns:a16="http://schemas.microsoft.com/office/drawing/2014/main" id="{0528D895-B2C1-2CA1-1049-6B7481627BC0}"/>
                    </a:ext>
                  </a:extLst>
                </p:cNvPr>
                <p:cNvSpPr>
                  <a:spLocks/>
                </p:cNvSpPr>
                <p:nvPr/>
              </p:nvSpPr>
              <p:spPr bwMode="auto">
                <a:xfrm>
                  <a:off x="7059613" y="4500563"/>
                  <a:ext cx="50800" cy="82550"/>
                </a:xfrm>
                <a:custGeom>
                  <a:avLst/>
                  <a:gdLst>
                    <a:gd name="T0" fmla="*/ 10 w 15"/>
                    <a:gd name="T1" fmla="*/ 23 h 24"/>
                    <a:gd name="T2" fmla="*/ 13 w 15"/>
                    <a:gd name="T3" fmla="*/ 22 h 24"/>
                    <a:gd name="T4" fmla="*/ 15 w 15"/>
                    <a:gd name="T5" fmla="*/ 19 h 24"/>
                    <a:gd name="T6" fmla="*/ 15 w 15"/>
                    <a:gd name="T7" fmla="*/ 16 h 24"/>
                    <a:gd name="T8" fmla="*/ 14 w 15"/>
                    <a:gd name="T9" fmla="*/ 13 h 24"/>
                    <a:gd name="T10" fmla="*/ 12 w 15"/>
                    <a:gd name="T11" fmla="*/ 11 h 24"/>
                    <a:gd name="T12" fmla="*/ 14 w 15"/>
                    <a:gd name="T13" fmla="*/ 9 h 24"/>
                    <a:gd name="T14" fmla="*/ 14 w 15"/>
                    <a:gd name="T15" fmla="*/ 7 h 24"/>
                    <a:gd name="T16" fmla="*/ 14 w 15"/>
                    <a:gd name="T17" fmla="*/ 4 h 24"/>
                    <a:gd name="T18" fmla="*/ 12 w 15"/>
                    <a:gd name="T19" fmla="*/ 2 h 24"/>
                    <a:gd name="T20" fmla="*/ 10 w 15"/>
                    <a:gd name="T21" fmla="*/ 1 h 24"/>
                    <a:gd name="T22" fmla="*/ 7 w 15"/>
                    <a:gd name="T23" fmla="*/ 0 h 24"/>
                    <a:gd name="T24" fmla="*/ 5 w 15"/>
                    <a:gd name="T25" fmla="*/ 1 h 24"/>
                    <a:gd name="T26" fmla="*/ 3 w 15"/>
                    <a:gd name="T27" fmla="*/ 1 h 24"/>
                    <a:gd name="T28" fmla="*/ 1 w 15"/>
                    <a:gd name="T29" fmla="*/ 2 h 24"/>
                    <a:gd name="T30" fmla="*/ 0 w 15"/>
                    <a:gd name="T31" fmla="*/ 2 h 24"/>
                    <a:gd name="T32" fmla="*/ 2 w 15"/>
                    <a:gd name="T33" fmla="*/ 6 h 24"/>
                    <a:gd name="T34" fmla="*/ 4 w 15"/>
                    <a:gd name="T35" fmla="*/ 5 h 24"/>
                    <a:gd name="T36" fmla="*/ 7 w 15"/>
                    <a:gd name="T37" fmla="*/ 4 h 24"/>
                    <a:gd name="T38" fmla="*/ 8 w 15"/>
                    <a:gd name="T39" fmla="*/ 5 h 24"/>
                    <a:gd name="T40" fmla="*/ 9 w 15"/>
                    <a:gd name="T41" fmla="*/ 5 h 24"/>
                    <a:gd name="T42" fmla="*/ 9 w 15"/>
                    <a:gd name="T43" fmla="*/ 6 h 24"/>
                    <a:gd name="T44" fmla="*/ 9 w 15"/>
                    <a:gd name="T45" fmla="*/ 7 h 24"/>
                    <a:gd name="T46" fmla="*/ 9 w 15"/>
                    <a:gd name="T47" fmla="*/ 8 h 24"/>
                    <a:gd name="T48" fmla="*/ 8 w 15"/>
                    <a:gd name="T49" fmla="*/ 9 h 24"/>
                    <a:gd name="T50" fmla="*/ 7 w 15"/>
                    <a:gd name="T51" fmla="*/ 9 h 24"/>
                    <a:gd name="T52" fmla="*/ 6 w 15"/>
                    <a:gd name="T53" fmla="*/ 9 h 24"/>
                    <a:gd name="T54" fmla="*/ 4 w 15"/>
                    <a:gd name="T55" fmla="*/ 9 h 24"/>
                    <a:gd name="T56" fmla="*/ 4 w 15"/>
                    <a:gd name="T57" fmla="*/ 13 h 24"/>
                    <a:gd name="T58" fmla="*/ 6 w 15"/>
                    <a:gd name="T59" fmla="*/ 13 h 24"/>
                    <a:gd name="T60" fmla="*/ 7 w 15"/>
                    <a:gd name="T61" fmla="*/ 13 h 24"/>
                    <a:gd name="T62" fmla="*/ 9 w 15"/>
                    <a:gd name="T63" fmla="*/ 14 h 24"/>
                    <a:gd name="T64" fmla="*/ 10 w 15"/>
                    <a:gd name="T65" fmla="*/ 15 h 24"/>
                    <a:gd name="T66" fmla="*/ 10 w 15"/>
                    <a:gd name="T67" fmla="*/ 16 h 24"/>
                    <a:gd name="T68" fmla="*/ 9 w 15"/>
                    <a:gd name="T69" fmla="*/ 19 h 24"/>
                    <a:gd name="T70" fmla="*/ 6 w 15"/>
                    <a:gd name="T71" fmla="*/ 19 h 24"/>
                    <a:gd name="T72" fmla="*/ 3 w 15"/>
                    <a:gd name="T73" fmla="*/ 19 h 24"/>
                    <a:gd name="T74" fmla="*/ 1 w 15"/>
                    <a:gd name="T75" fmla="*/ 18 h 24"/>
                    <a:gd name="T76" fmla="*/ 0 w 15"/>
                    <a:gd name="T77" fmla="*/ 22 h 24"/>
                    <a:gd name="T78" fmla="*/ 1 w 15"/>
                    <a:gd name="T79" fmla="*/ 23 h 24"/>
                    <a:gd name="T80" fmla="*/ 3 w 15"/>
                    <a:gd name="T81" fmla="*/ 23 h 24"/>
                    <a:gd name="T82" fmla="*/ 4 w 15"/>
                    <a:gd name="T83" fmla="*/ 23 h 24"/>
                    <a:gd name="T84" fmla="*/ 6 w 15"/>
                    <a:gd name="T85" fmla="*/ 24 h 24"/>
                    <a:gd name="T86" fmla="*/ 10 w 15"/>
                    <a:gd name="T8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24">
                      <a:moveTo>
                        <a:pt x="10" y="23"/>
                      </a:moveTo>
                      <a:cubicBezTo>
                        <a:pt x="11" y="23"/>
                        <a:pt x="12" y="22"/>
                        <a:pt x="13" y="22"/>
                      </a:cubicBezTo>
                      <a:cubicBezTo>
                        <a:pt x="14" y="21"/>
                        <a:pt x="14" y="20"/>
                        <a:pt x="15" y="19"/>
                      </a:cubicBezTo>
                      <a:cubicBezTo>
                        <a:pt x="15" y="18"/>
                        <a:pt x="15" y="17"/>
                        <a:pt x="15" y="16"/>
                      </a:cubicBezTo>
                      <a:cubicBezTo>
                        <a:pt x="15" y="15"/>
                        <a:pt x="15" y="14"/>
                        <a:pt x="14" y="13"/>
                      </a:cubicBezTo>
                      <a:cubicBezTo>
                        <a:pt x="14" y="12"/>
                        <a:pt x="13" y="11"/>
                        <a:pt x="12" y="11"/>
                      </a:cubicBezTo>
                      <a:cubicBezTo>
                        <a:pt x="12" y="11"/>
                        <a:pt x="13" y="10"/>
                        <a:pt x="14" y="9"/>
                      </a:cubicBezTo>
                      <a:cubicBezTo>
                        <a:pt x="14" y="8"/>
                        <a:pt x="14" y="7"/>
                        <a:pt x="14" y="7"/>
                      </a:cubicBezTo>
                      <a:cubicBezTo>
                        <a:pt x="14" y="6"/>
                        <a:pt x="14" y="5"/>
                        <a:pt x="14" y="4"/>
                      </a:cubicBezTo>
                      <a:cubicBezTo>
                        <a:pt x="13" y="3"/>
                        <a:pt x="13" y="3"/>
                        <a:pt x="12" y="2"/>
                      </a:cubicBezTo>
                      <a:cubicBezTo>
                        <a:pt x="12" y="2"/>
                        <a:pt x="11" y="1"/>
                        <a:pt x="10" y="1"/>
                      </a:cubicBezTo>
                      <a:cubicBezTo>
                        <a:pt x="9" y="1"/>
                        <a:pt x="8" y="0"/>
                        <a:pt x="7" y="0"/>
                      </a:cubicBezTo>
                      <a:cubicBezTo>
                        <a:pt x="6" y="0"/>
                        <a:pt x="5" y="0"/>
                        <a:pt x="5" y="1"/>
                      </a:cubicBezTo>
                      <a:cubicBezTo>
                        <a:pt x="4" y="1"/>
                        <a:pt x="3" y="1"/>
                        <a:pt x="3" y="1"/>
                      </a:cubicBezTo>
                      <a:cubicBezTo>
                        <a:pt x="2" y="1"/>
                        <a:pt x="2" y="1"/>
                        <a:pt x="1" y="2"/>
                      </a:cubicBezTo>
                      <a:cubicBezTo>
                        <a:pt x="1" y="2"/>
                        <a:pt x="1" y="2"/>
                        <a:pt x="0" y="2"/>
                      </a:cubicBezTo>
                      <a:cubicBezTo>
                        <a:pt x="2" y="6"/>
                        <a:pt x="2" y="6"/>
                        <a:pt x="2" y="6"/>
                      </a:cubicBezTo>
                      <a:cubicBezTo>
                        <a:pt x="3" y="5"/>
                        <a:pt x="3" y="5"/>
                        <a:pt x="4" y="5"/>
                      </a:cubicBezTo>
                      <a:cubicBezTo>
                        <a:pt x="5" y="5"/>
                        <a:pt x="6" y="4"/>
                        <a:pt x="7" y="4"/>
                      </a:cubicBezTo>
                      <a:cubicBezTo>
                        <a:pt x="7" y="4"/>
                        <a:pt x="7" y="4"/>
                        <a:pt x="8" y="5"/>
                      </a:cubicBezTo>
                      <a:cubicBezTo>
                        <a:pt x="8" y="5"/>
                        <a:pt x="8" y="5"/>
                        <a:pt x="9" y="5"/>
                      </a:cubicBezTo>
                      <a:cubicBezTo>
                        <a:pt x="9" y="5"/>
                        <a:pt x="9" y="5"/>
                        <a:pt x="9" y="6"/>
                      </a:cubicBezTo>
                      <a:cubicBezTo>
                        <a:pt x="9" y="6"/>
                        <a:pt x="9" y="6"/>
                        <a:pt x="9" y="7"/>
                      </a:cubicBezTo>
                      <a:cubicBezTo>
                        <a:pt x="9" y="7"/>
                        <a:pt x="9" y="8"/>
                        <a:pt x="9" y="8"/>
                      </a:cubicBezTo>
                      <a:cubicBezTo>
                        <a:pt x="9" y="8"/>
                        <a:pt x="9" y="9"/>
                        <a:pt x="8" y="9"/>
                      </a:cubicBezTo>
                      <a:cubicBezTo>
                        <a:pt x="8" y="9"/>
                        <a:pt x="8" y="9"/>
                        <a:pt x="7" y="9"/>
                      </a:cubicBezTo>
                      <a:cubicBezTo>
                        <a:pt x="7" y="9"/>
                        <a:pt x="6" y="9"/>
                        <a:pt x="6" y="9"/>
                      </a:cubicBezTo>
                      <a:cubicBezTo>
                        <a:pt x="4" y="9"/>
                        <a:pt x="4" y="9"/>
                        <a:pt x="4" y="9"/>
                      </a:cubicBezTo>
                      <a:cubicBezTo>
                        <a:pt x="4" y="13"/>
                        <a:pt x="4" y="13"/>
                        <a:pt x="4" y="13"/>
                      </a:cubicBezTo>
                      <a:cubicBezTo>
                        <a:pt x="6" y="13"/>
                        <a:pt x="6" y="13"/>
                        <a:pt x="6" y="13"/>
                      </a:cubicBezTo>
                      <a:cubicBezTo>
                        <a:pt x="6" y="13"/>
                        <a:pt x="7" y="13"/>
                        <a:pt x="7" y="13"/>
                      </a:cubicBezTo>
                      <a:cubicBezTo>
                        <a:pt x="8" y="14"/>
                        <a:pt x="9" y="14"/>
                        <a:pt x="9" y="14"/>
                      </a:cubicBezTo>
                      <a:cubicBezTo>
                        <a:pt x="9" y="14"/>
                        <a:pt x="10" y="15"/>
                        <a:pt x="10" y="15"/>
                      </a:cubicBezTo>
                      <a:cubicBezTo>
                        <a:pt x="10" y="15"/>
                        <a:pt x="10" y="16"/>
                        <a:pt x="10" y="16"/>
                      </a:cubicBezTo>
                      <a:cubicBezTo>
                        <a:pt x="10" y="17"/>
                        <a:pt x="10" y="18"/>
                        <a:pt x="9" y="19"/>
                      </a:cubicBezTo>
                      <a:cubicBezTo>
                        <a:pt x="9" y="19"/>
                        <a:pt x="8" y="19"/>
                        <a:pt x="6" y="19"/>
                      </a:cubicBezTo>
                      <a:cubicBezTo>
                        <a:pt x="5" y="19"/>
                        <a:pt x="4" y="19"/>
                        <a:pt x="3" y="19"/>
                      </a:cubicBezTo>
                      <a:cubicBezTo>
                        <a:pt x="2" y="19"/>
                        <a:pt x="1" y="19"/>
                        <a:pt x="1" y="18"/>
                      </a:cubicBezTo>
                      <a:cubicBezTo>
                        <a:pt x="0" y="22"/>
                        <a:pt x="0" y="22"/>
                        <a:pt x="0" y="22"/>
                      </a:cubicBezTo>
                      <a:cubicBezTo>
                        <a:pt x="0" y="22"/>
                        <a:pt x="0" y="23"/>
                        <a:pt x="1" y="23"/>
                      </a:cubicBezTo>
                      <a:cubicBezTo>
                        <a:pt x="1" y="23"/>
                        <a:pt x="2" y="23"/>
                        <a:pt x="3" y="23"/>
                      </a:cubicBezTo>
                      <a:cubicBezTo>
                        <a:pt x="3" y="23"/>
                        <a:pt x="4" y="23"/>
                        <a:pt x="4" y="23"/>
                      </a:cubicBezTo>
                      <a:cubicBezTo>
                        <a:pt x="5" y="24"/>
                        <a:pt x="6" y="24"/>
                        <a:pt x="6" y="24"/>
                      </a:cubicBezTo>
                      <a:cubicBezTo>
                        <a:pt x="8" y="24"/>
                        <a:pt x="9" y="23"/>
                        <a:pt x="10" y="23"/>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19" name="Group 18">
              <a:extLst>
                <a:ext uri="{FF2B5EF4-FFF2-40B4-BE49-F238E27FC236}">
                  <a16:creationId xmlns:a16="http://schemas.microsoft.com/office/drawing/2014/main" id="{1BD467F3-91BD-A026-812F-22BC795AF662}"/>
                </a:ext>
              </a:extLst>
            </p:cNvPr>
            <p:cNvGrpSpPr/>
            <p:nvPr/>
          </p:nvGrpSpPr>
          <p:grpSpPr>
            <a:xfrm>
              <a:off x="1693324" y="1484784"/>
              <a:ext cx="802276" cy="532123"/>
              <a:chOff x="5089889" y="1508049"/>
              <a:chExt cx="498232" cy="330461"/>
            </a:xfrm>
          </p:grpSpPr>
          <p:grpSp>
            <p:nvGrpSpPr>
              <p:cNvPr id="20" name="Group 19">
                <a:extLst>
                  <a:ext uri="{FF2B5EF4-FFF2-40B4-BE49-F238E27FC236}">
                    <a16:creationId xmlns:a16="http://schemas.microsoft.com/office/drawing/2014/main" id="{DF93DEE0-68B0-CFF4-35CC-FBBCF1B35467}"/>
                  </a:ext>
                </a:extLst>
              </p:cNvPr>
              <p:cNvGrpSpPr/>
              <p:nvPr/>
            </p:nvGrpSpPr>
            <p:grpSpPr>
              <a:xfrm rot="20968230">
                <a:off x="5089889" y="1508049"/>
                <a:ext cx="498232" cy="271246"/>
                <a:chOff x="2294972" y="3619256"/>
                <a:chExt cx="648320" cy="352957"/>
              </a:xfrm>
              <a:solidFill>
                <a:srgbClr val="0584BB"/>
              </a:solidFill>
            </p:grpSpPr>
            <p:sp>
              <p:nvSpPr>
                <p:cNvPr id="22" name="Rectangle 21">
                  <a:extLst>
                    <a:ext uri="{FF2B5EF4-FFF2-40B4-BE49-F238E27FC236}">
                      <a16:creationId xmlns:a16="http://schemas.microsoft.com/office/drawing/2014/main" id="{F9D7284D-E925-D43F-DF73-A47370B0DA4D}"/>
                    </a:ext>
                  </a:extLst>
                </p:cNvPr>
                <p:cNvSpPr/>
                <p:nvPr/>
              </p:nvSpPr>
              <p:spPr>
                <a:xfrm>
                  <a:off x="2382260" y="3861049"/>
                  <a:ext cx="437299"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23" name="Rectangle 22">
                  <a:extLst>
                    <a:ext uri="{FF2B5EF4-FFF2-40B4-BE49-F238E27FC236}">
                      <a16:creationId xmlns:a16="http://schemas.microsoft.com/office/drawing/2014/main" id="{9303AF79-175E-BB4E-C76C-28B157DA941C}"/>
                    </a:ext>
                  </a:extLst>
                </p:cNvPr>
                <p:cNvSpPr/>
                <p:nvPr/>
              </p:nvSpPr>
              <p:spPr>
                <a:xfrm>
                  <a:off x="2831907" y="3861048"/>
                  <a:ext cx="29752"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24" name="Rectangle 23">
                  <a:extLst>
                    <a:ext uri="{FF2B5EF4-FFF2-40B4-BE49-F238E27FC236}">
                      <a16:creationId xmlns:a16="http://schemas.microsoft.com/office/drawing/2014/main" id="{CADB6122-E370-F73D-D7CA-7E838569864F}"/>
                    </a:ext>
                  </a:extLst>
                </p:cNvPr>
                <p:cNvSpPr/>
                <p:nvPr/>
              </p:nvSpPr>
              <p:spPr>
                <a:xfrm>
                  <a:off x="2873287" y="3861048"/>
                  <a:ext cx="29752"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25" name="Rectangle 24">
                  <a:extLst>
                    <a:ext uri="{FF2B5EF4-FFF2-40B4-BE49-F238E27FC236}">
                      <a16:creationId xmlns:a16="http://schemas.microsoft.com/office/drawing/2014/main" id="{9F5B2379-9A5D-BCB1-05D8-A5EB493B09AA}"/>
                    </a:ext>
                  </a:extLst>
                </p:cNvPr>
                <p:cNvSpPr/>
                <p:nvPr/>
              </p:nvSpPr>
              <p:spPr>
                <a:xfrm>
                  <a:off x="2294972" y="3864212"/>
                  <a:ext cx="69354" cy="10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26" name="Moon 32">
                  <a:extLst>
                    <a:ext uri="{FF2B5EF4-FFF2-40B4-BE49-F238E27FC236}">
                      <a16:creationId xmlns:a16="http://schemas.microsoft.com/office/drawing/2014/main" id="{5947CCC5-4524-4B05-7F76-65ECA4B9DB06}"/>
                    </a:ext>
                  </a:extLst>
                </p:cNvPr>
                <p:cNvSpPr/>
                <p:nvPr/>
              </p:nvSpPr>
              <p:spPr>
                <a:xfrm rot="21073537">
                  <a:off x="2848184" y="3619256"/>
                  <a:ext cx="95108" cy="218352"/>
                </a:xfrm>
                <a:custGeom>
                  <a:avLst/>
                  <a:gdLst>
                    <a:gd name="connsiteX0" fmla="*/ 155109 w 155109"/>
                    <a:gd name="connsiteY0" fmla="*/ 288032 h 288032"/>
                    <a:gd name="connsiteX1" fmla="*/ 0 w 155109"/>
                    <a:gd name="connsiteY1" fmla="*/ 144016 h 288032"/>
                    <a:gd name="connsiteX2" fmla="*/ 155109 w 155109"/>
                    <a:gd name="connsiteY2" fmla="*/ 0 h 288032"/>
                    <a:gd name="connsiteX3" fmla="*/ 77555 w 155109"/>
                    <a:gd name="connsiteY3" fmla="*/ 144016 h 288032"/>
                    <a:gd name="connsiteX4" fmla="*/ 155109 w 155109"/>
                    <a:gd name="connsiteY4" fmla="*/ 288032 h 288032"/>
                    <a:gd name="connsiteX0" fmla="*/ 155109 w 156658"/>
                    <a:gd name="connsiteY0" fmla="*/ 288032 h 288635"/>
                    <a:gd name="connsiteX1" fmla="*/ 0 w 156658"/>
                    <a:gd name="connsiteY1" fmla="*/ 144016 h 288635"/>
                    <a:gd name="connsiteX2" fmla="*/ 155109 w 156658"/>
                    <a:gd name="connsiteY2" fmla="*/ 0 h 288635"/>
                    <a:gd name="connsiteX3" fmla="*/ 77555 w 156658"/>
                    <a:gd name="connsiteY3" fmla="*/ 144016 h 288635"/>
                    <a:gd name="connsiteX4" fmla="*/ 79578 w 156658"/>
                    <a:gd name="connsiteY4" fmla="*/ 193546 h 288635"/>
                    <a:gd name="connsiteX5" fmla="*/ 155109 w 156658"/>
                    <a:gd name="connsiteY5" fmla="*/ 288032 h 288635"/>
                    <a:gd name="connsiteX0" fmla="*/ 165509 w 167058"/>
                    <a:gd name="connsiteY0" fmla="*/ 288032 h 288635"/>
                    <a:gd name="connsiteX1" fmla="*/ 30922 w 167058"/>
                    <a:gd name="connsiteY1" fmla="*/ 216406 h 288635"/>
                    <a:gd name="connsiteX2" fmla="*/ 10400 w 167058"/>
                    <a:gd name="connsiteY2" fmla="*/ 144016 h 288635"/>
                    <a:gd name="connsiteX3" fmla="*/ 165509 w 167058"/>
                    <a:gd name="connsiteY3" fmla="*/ 0 h 288635"/>
                    <a:gd name="connsiteX4" fmla="*/ 87955 w 167058"/>
                    <a:gd name="connsiteY4" fmla="*/ 144016 h 288635"/>
                    <a:gd name="connsiteX5" fmla="*/ 89978 w 167058"/>
                    <a:gd name="connsiteY5" fmla="*/ 193546 h 288635"/>
                    <a:gd name="connsiteX6" fmla="*/ 165509 w 167058"/>
                    <a:gd name="connsiteY6" fmla="*/ 288032 h 288635"/>
                    <a:gd name="connsiteX0" fmla="*/ 11204 w 165509"/>
                    <a:gd name="connsiteY0" fmla="*/ 345182 h 345542"/>
                    <a:gd name="connsiteX1" fmla="*/ 30922 w 165509"/>
                    <a:gd name="connsiteY1" fmla="*/ 216406 h 345542"/>
                    <a:gd name="connsiteX2" fmla="*/ 10400 w 165509"/>
                    <a:gd name="connsiteY2" fmla="*/ 144016 h 345542"/>
                    <a:gd name="connsiteX3" fmla="*/ 165509 w 165509"/>
                    <a:gd name="connsiteY3" fmla="*/ 0 h 345542"/>
                    <a:gd name="connsiteX4" fmla="*/ 87955 w 165509"/>
                    <a:gd name="connsiteY4" fmla="*/ 144016 h 345542"/>
                    <a:gd name="connsiteX5" fmla="*/ 89978 w 165509"/>
                    <a:gd name="connsiteY5" fmla="*/ 193546 h 345542"/>
                    <a:gd name="connsiteX6" fmla="*/ 11204 w 165509"/>
                    <a:gd name="connsiteY6" fmla="*/ 345182 h 345542"/>
                    <a:gd name="connsiteX0" fmla="*/ 11204 w 167320"/>
                    <a:gd name="connsiteY0" fmla="*/ 345182 h 345542"/>
                    <a:gd name="connsiteX1" fmla="*/ 30922 w 167320"/>
                    <a:gd name="connsiteY1" fmla="*/ 216406 h 345542"/>
                    <a:gd name="connsiteX2" fmla="*/ 10400 w 167320"/>
                    <a:gd name="connsiteY2" fmla="*/ 144016 h 345542"/>
                    <a:gd name="connsiteX3" fmla="*/ 165509 w 167320"/>
                    <a:gd name="connsiteY3" fmla="*/ 0 h 345542"/>
                    <a:gd name="connsiteX4" fmla="*/ 89978 w 167320"/>
                    <a:gd name="connsiteY4" fmla="*/ 193546 h 345542"/>
                    <a:gd name="connsiteX5" fmla="*/ 11204 w 167320"/>
                    <a:gd name="connsiteY5" fmla="*/ 345182 h 345542"/>
                    <a:gd name="connsiteX0" fmla="*/ 11204 w 167320"/>
                    <a:gd name="connsiteY0" fmla="*/ 345949 h 346309"/>
                    <a:gd name="connsiteX1" fmla="*/ 30922 w 167320"/>
                    <a:gd name="connsiteY1" fmla="*/ 217173 h 346309"/>
                    <a:gd name="connsiteX2" fmla="*/ 10400 w 167320"/>
                    <a:gd name="connsiteY2" fmla="*/ 144783 h 346309"/>
                    <a:gd name="connsiteX3" fmla="*/ 165509 w 167320"/>
                    <a:gd name="connsiteY3" fmla="*/ 767 h 346309"/>
                    <a:gd name="connsiteX4" fmla="*/ 89978 w 167320"/>
                    <a:gd name="connsiteY4" fmla="*/ 194313 h 346309"/>
                    <a:gd name="connsiteX5" fmla="*/ 11204 w 167320"/>
                    <a:gd name="connsiteY5" fmla="*/ 345949 h 346309"/>
                    <a:gd name="connsiteX0" fmla="*/ 11204 w 165509"/>
                    <a:gd name="connsiteY0" fmla="*/ 345949 h 346309"/>
                    <a:gd name="connsiteX1" fmla="*/ 30922 w 165509"/>
                    <a:gd name="connsiteY1" fmla="*/ 217173 h 346309"/>
                    <a:gd name="connsiteX2" fmla="*/ 10400 w 165509"/>
                    <a:gd name="connsiteY2" fmla="*/ 144783 h 346309"/>
                    <a:gd name="connsiteX3" fmla="*/ 165509 w 165509"/>
                    <a:gd name="connsiteY3" fmla="*/ 767 h 346309"/>
                    <a:gd name="connsiteX4" fmla="*/ 89978 w 165509"/>
                    <a:gd name="connsiteY4" fmla="*/ 194313 h 346309"/>
                    <a:gd name="connsiteX5" fmla="*/ 11204 w 165509"/>
                    <a:gd name="connsiteY5" fmla="*/ 345949 h 346309"/>
                    <a:gd name="connsiteX0" fmla="*/ 18753 w 173058"/>
                    <a:gd name="connsiteY0" fmla="*/ 346373 h 346733"/>
                    <a:gd name="connsiteX1" fmla="*/ 38471 w 173058"/>
                    <a:gd name="connsiteY1" fmla="*/ 217597 h 346733"/>
                    <a:gd name="connsiteX2" fmla="*/ 8424 w 173058"/>
                    <a:gd name="connsiteY2" fmla="*/ 99487 h 346733"/>
                    <a:gd name="connsiteX3" fmla="*/ 173058 w 173058"/>
                    <a:gd name="connsiteY3" fmla="*/ 1191 h 346733"/>
                    <a:gd name="connsiteX4" fmla="*/ 97527 w 173058"/>
                    <a:gd name="connsiteY4" fmla="*/ 194737 h 346733"/>
                    <a:gd name="connsiteX5" fmla="*/ 18753 w 173058"/>
                    <a:gd name="connsiteY5" fmla="*/ 346373 h 346733"/>
                    <a:gd name="connsiteX0" fmla="*/ 14733 w 169038"/>
                    <a:gd name="connsiteY0" fmla="*/ 346556 h 346916"/>
                    <a:gd name="connsiteX1" fmla="*/ 34451 w 169038"/>
                    <a:gd name="connsiteY1" fmla="*/ 217780 h 346916"/>
                    <a:gd name="connsiteX2" fmla="*/ 4404 w 169038"/>
                    <a:gd name="connsiteY2" fmla="*/ 99670 h 346916"/>
                    <a:gd name="connsiteX3" fmla="*/ 169038 w 169038"/>
                    <a:gd name="connsiteY3" fmla="*/ 1374 h 346916"/>
                    <a:gd name="connsiteX4" fmla="*/ 93507 w 169038"/>
                    <a:gd name="connsiteY4" fmla="*/ 194920 h 346916"/>
                    <a:gd name="connsiteX5" fmla="*/ 14733 w 169038"/>
                    <a:gd name="connsiteY5" fmla="*/ 346556 h 346916"/>
                    <a:gd name="connsiteX0" fmla="*/ 14733 w 169038"/>
                    <a:gd name="connsiteY0" fmla="*/ 346556 h 346931"/>
                    <a:gd name="connsiteX1" fmla="*/ 34451 w 169038"/>
                    <a:gd name="connsiteY1" fmla="*/ 217780 h 346931"/>
                    <a:gd name="connsiteX2" fmla="*/ 4404 w 169038"/>
                    <a:gd name="connsiteY2" fmla="*/ 99670 h 346931"/>
                    <a:gd name="connsiteX3" fmla="*/ 169038 w 169038"/>
                    <a:gd name="connsiteY3" fmla="*/ 1374 h 346931"/>
                    <a:gd name="connsiteX4" fmla="*/ 101127 w 169038"/>
                    <a:gd name="connsiteY4" fmla="*/ 200635 h 346931"/>
                    <a:gd name="connsiteX5" fmla="*/ 14733 w 169038"/>
                    <a:gd name="connsiteY5" fmla="*/ 346556 h 346931"/>
                    <a:gd name="connsiteX0" fmla="*/ 14733 w 169038"/>
                    <a:gd name="connsiteY0" fmla="*/ 346556 h 347153"/>
                    <a:gd name="connsiteX1" fmla="*/ 34451 w 169038"/>
                    <a:gd name="connsiteY1" fmla="*/ 217780 h 347153"/>
                    <a:gd name="connsiteX2" fmla="*/ 4404 w 169038"/>
                    <a:gd name="connsiteY2" fmla="*/ 99670 h 347153"/>
                    <a:gd name="connsiteX3" fmla="*/ 169038 w 169038"/>
                    <a:gd name="connsiteY3" fmla="*/ 1374 h 347153"/>
                    <a:gd name="connsiteX4" fmla="*/ 101127 w 169038"/>
                    <a:gd name="connsiteY4" fmla="*/ 200635 h 347153"/>
                    <a:gd name="connsiteX5" fmla="*/ 14733 w 169038"/>
                    <a:gd name="connsiteY5" fmla="*/ 346556 h 347153"/>
                    <a:gd name="connsiteX0" fmla="*/ 14733 w 169038"/>
                    <a:gd name="connsiteY0" fmla="*/ 346556 h 347153"/>
                    <a:gd name="connsiteX1" fmla="*/ 34451 w 169038"/>
                    <a:gd name="connsiteY1" fmla="*/ 217780 h 347153"/>
                    <a:gd name="connsiteX2" fmla="*/ 4404 w 169038"/>
                    <a:gd name="connsiteY2" fmla="*/ 99670 h 347153"/>
                    <a:gd name="connsiteX3" fmla="*/ 169038 w 169038"/>
                    <a:gd name="connsiteY3" fmla="*/ 1374 h 347153"/>
                    <a:gd name="connsiteX4" fmla="*/ 101127 w 169038"/>
                    <a:gd name="connsiteY4" fmla="*/ 200635 h 347153"/>
                    <a:gd name="connsiteX5" fmla="*/ 14733 w 169038"/>
                    <a:gd name="connsiteY5" fmla="*/ 346556 h 347153"/>
                    <a:gd name="connsiteX0" fmla="*/ 14733 w 169038"/>
                    <a:gd name="connsiteY0" fmla="*/ 346556 h 346653"/>
                    <a:gd name="connsiteX1" fmla="*/ 34451 w 169038"/>
                    <a:gd name="connsiteY1" fmla="*/ 217780 h 346653"/>
                    <a:gd name="connsiteX2" fmla="*/ 4404 w 169038"/>
                    <a:gd name="connsiteY2" fmla="*/ 99670 h 346653"/>
                    <a:gd name="connsiteX3" fmla="*/ 169038 w 169038"/>
                    <a:gd name="connsiteY3" fmla="*/ 1374 h 346653"/>
                    <a:gd name="connsiteX4" fmla="*/ 101127 w 169038"/>
                    <a:gd name="connsiteY4" fmla="*/ 200635 h 346653"/>
                    <a:gd name="connsiteX5" fmla="*/ 14733 w 169038"/>
                    <a:gd name="connsiteY5" fmla="*/ 346556 h 346653"/>
                    <a:gd name="connsiteX0" fmla="*/ 14733 w 169038"/>
                    <a:gd name="connsiteY0" fmla="*/ 346556 h 346556"/>
                    <a:gd name="connsiteX1" fmla="*/ 34451 w 169038"/>
                    <a:gd name="connsiteY1" fmla="*/ 217780 h 346556"/>
                    <a:gd name="connsiteX2" fmla="*/ 4404 w 169038"/>
                    <a:gd name="connsiteY2" fmla="*/ 99670 h 346556"/>
                    <a:gd name="connsiteX3" fmla="*/ 169038 w 169038"/>
                    <a:gd name="connsiteY3" fmla="*/ 1374 h 346556"/>
                    <a:gd name="connsiteX4" fmla="*/ 101127 w 169038"/>
                    <a:gd name="connsiteY4" fmla="*/ 200635 h 346556"/>
                    <a:gd name="connsiteX5" fmla="*/ 14733 w 169038"/>
                    <a:gd name="connsiteY5" fmla="*/ 346556 h 346556"/>
                    <a:gd name="connsiteX0" fmla="*/ 14733 w 169038"/>
                    <a:gd name="connsiteY0" fmla="*/ 345805 h 345805"/>
                    <a:gd name="connsiteX1" fmla="*/ 34451 w 169038"/>
                    <a:gd name="connsiteY1" fmla="*/ 217029 h 345805"/>
                    <a:gd name="connsiteX2" fmla="*/ 4404 w 169038"/>
                    <a:gd name="connsiteY2" fmla="*/ 98919 h 345805"/>
                    <a:gd name="connsiteX3" fmla="*/ 169038 w 169038"/>
                    <a:gd name="connsiteY3" fmla="*/ 623 h 345805"/>
                    <a:gd name="connsiteX4" fmla="*/ 101127 w 169038"/>
                    <a:gd name="connsiteY4" fmla="*/ 199884 h 345805"/>
                    <a:gd name="connsiteX5" fmla="*/ 14733 w 169038"/>
                    <a:gd name="connsiteY5" fmla="*/ 345805 h 345805"/>
                    <a:gd name="connsiteX0" fmla="*/ 19570 w 173875"/>
                    <a:gd name="connsiteY0" fmla="*/ 345713 h 345713"/>
                    <a:gd name="connsiteX1" fmla="*/ 36095 w 173875"/>
                    <a:gd name="connsiteY1" fmla="*/ 216475 h 345713"/>
                    <a:gd name="connsiteX2" fmla="*/ 9241 w 173875"/>
                    <a:gd name="connsiteY2" fmla="*/ 98827 h 345713"/>
                    <a:gd name="connsiteX3" fmla="*/ 173875 w 173875"/>
                    <a:gd name="connsiteY3" fmla="*/ 531 h 345713"/>
                    <a:gd name="connsiteX4" fmla="*/ 105964 w 173875"/>
                    <a:gd name="connsiteY4" fmla="*/ 199792 h 345713"/>
                    <a:gd name="connsiteX5" fmla="*/ 19570 w 173875"/>
                    <a:gd name="connsiteY5" fmla="*/ 345713 h 345713"/>
                    <a:gd name="connsiteX0" fmla="*/ 8846 w 163151"/>
                    <a:gd name="connsiteY0" fmla="*/ 346028 h 346028"/>
                    <a:gd name="connsiteX1" fmla="*/ 25371 w 163151"/>
                    <a:gd name="connsiteY1" fmla="*/ 216790 h 346028"/>
                    <a:gd name="connsiteX2" fmla="*/ 13025 w 163151"/>
                    <a:gd name="connsiteY2" fmla="*/ 70688 h 346028"/>
                    <a:gd name="connsiteX3" fmla="*/ 163151 w 163151"/>
                    <a:gd name="connsiteY3" fmla="*/ 846 h 346028"/>
                    <a:gd name="connsiteX4" fmla="*/ 95240 w 163151"/>
                    <a:gd name="connsiteY4" fmla="*/ 200107 h 346028"/>
                    <a:gd name="connsiteX5" fmla="*/ 8846 w 163151"/>
                    <a:gd name="connsiteY5" fmla="*/ 346028 h 346028"/>
                    <a:gd name="connsiteX0" fmla="*/ 8846 w 163151"/>
                    <a:gd name="connsiteY0" fmla="*/ 346028 h 346028"/>
                    <a:gd name="connsiteX1" fmla="*/ 25371 w 163151"/>
                    <a:gd name="connsiteY1" fmla="*/ 216790 h 346028"/>
                    <a:gd name="connsiteX2" fmla="*/ 13025 w 163151"/>
                    <a:gd name="connsiteY2" fmla="*/ 70688 h 346028"/>
                    <a:gd name="connsiteX3" fmla="*/ 163151 w 163151"/>
                    <a:gd name="connsiteY3" fmla="*/ 846 h 346028"/>
                    <a:gd name="connsiteX4" fmla="*/ 95240 w 163151"/>
                    <a:gd name="connsiteY4" fmla="*/ 200107 h 346028"/>
                    <a:gd name="connsiteX5" fmla="*/ 8846 w 163151"/>
                    <a:gd name="connsiteY5" fmla="*/ 346028 h 346028"/>
                    <a:gd name="connsiteX0" fmla="*/ 8846 w 163151"/>
                    <a:gd name="connsiteY0" fmla="*/ 346028 h 346028"/>
                    <a:gd name="connsiteX1" fmla="*/ 25371 w 163151"/>
                    <a:gd name="connsiteY1" fmla="*/ 216790 h 346028"/>
                    <a:gd name="connsiteX2" fmla="*/ 13025 w 163151"/>
                    <a:gd name="connsiteY2" fmla="*/ 70688 h 346028"/>
                    <a:gd name="connsiteX3" fmla="*/ 163151 w 163151"/>
                    <a:gd name="connsiteY3" fmla="*/ 846 h 346028"/>
                    <a:gd name="connsiteX4" fmla="*/ 95240 w 163151"/>
                    <a:gd name="connsiteY4" fmla="*/ 200107 h 346028"/>
                    <a:gd name="connsiteX5" fmla="*/ 8846 w 163151"/>
                    <a:gd name="connsiteY5" fmla="*/ 346028 h 346028"/>
                    <a:gd name="connsiteX0" fmla="*/ 7001 w 161306"/>
                    <a:gd name="connsiteY0" fmla="*/ 346028 h 346028"/>
                    <a:gd name="connsiteX1" fmla="*/ 23526 w 161306"/>
                    <a:gd name="connsiteY1" fmla="*/ 216790 h 346028"/>
                    <a:gd name="connsiteX2" fmla="*/ 11180 w 161306"/>
                    <a:gd name="connsiteY2" fmla="*/ 70688 h 346028"/>
                    <a:gd name="connsiteX3" fmla="*/ 161306 w 161306"/>
                    <a:gd name="connsiteY3" fmla="*/ 846 h 346028"/>
                    <a:gd name="connsiteX4" fmla="*/ 93395 w 161306"/>
                    <a:gd name="connsiteY4" fmla="*/ 200107 h 346028"/>
                    <a:gd name="connsiteX5" fmla="*/ 7001 w 161306"/>
                    <a:gd name="connsiteY5" fmla="*/ 346028 h 34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306" h="346028">
                      <a:moveTo>
                        <a:pt x="7001" y="346028"/>
                      </a:moveTo>
                      <a:cubicBezTo>
                        <a:pt x="28077" y="288321"/>
                        <a:pt x="48884" y="243777"/>
                        <a:pt x="23526" y="216790"/>
                      </a:cubicBezTo>
                      <a:cubicBezTo>
                        <a:pt x="4810" y="169378"/>
                        <a:pt x="-11783" y="106679"/>
                        <a:pt x="11180" y="70688"/>
                      </a:cubicBezTo>
                      <a:cubicBezTo>
                        <a:pt x="34143" y="34697"/>
                        <a:pt x="45326" y="-6439"/>
                        <a:pt x="161306" y="846"/>
                      </a:cubicBezTo>
                      <a:cubicBezTo>
                        <a:pt x="27884" y="89111"/>
                        <a:pt x="103872" y="134957"/>
                        <a:pt x="93395" y="200107"/>
                      </a:cubicBezTo>
                      <a:cubicBezTo>
                        <a:pt x="98701" y="275545"/>
                        <a:pt x="43124" y="319993"/>
                        <a:pt x="7001" y="3460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sp>
            <p:nvSpPr>
              <p:cNvPr id="21" name="Multiply 20">
                <a:extLst>
                  <a:ext uri="{FF2B5EF4-FFF2-40B4-BE49-F238E27FC236}">
                    <a16:creationId xmlns:a16="http://schemas.microsoft.com/office/drawing/2014/main" id="{C9271096-6460-278B-DCD0-12625D9914C4}"/>
                  </a:ext>
                </a:extLst>
              </p:cNvPr>
              <p:cNvSpPr/>
              <p:nvPr/>
            </p:nvSpPr>
            <p:spPr>
              <a:xfrm>
                <a:off x="5198685" y="1535248"/>
                <a:ext cx="303262" cy="303262"/>
              </a:xfrm>
              <a:custGeom>
                <a:avLst/>
                <a:gdLst>
                  <a:gd name="connsiteX0" fmla="*/ 86006 w 420004"/>
                  <a:gd name="connsiteY0" fmla="*/ 115743 h 420004"/>
                  <a:gd name="connsiteX1" fmla="*/ 115743 w 420004"/>
                  <a:gd name="connsiteY1" fmla="*/ 86006 h 420004"/>
                  <a:gd name="connsiteX2" fmla="*/ 210002 w 420004"/>
                  <a:gd name="connsiteY2" fmla="*/ 180265 h 420004"/>
                  <a:gd name="connsiteX3" fmla="*/ 304261 w 420004"/>
                  <a:gd name="connsiteY3" fmla="*/ 86006 h 420004"/>
                  <a:gd name="connsiteX4" fmla="*/ 333998 w 420004"/>
                  <a:gd name="connsiteY4" fmla="*/ 115743 h 420004"/>
                  <a:gd name="connsiteX5" fmla="*/ 239739 w 420004"/>
                  <a:gd name="connsiteY5" fmla="*/ 210002 h 420004"/>
                  <a:gd name="connsiteX6" fmla="*/ 333998 w 420004"/>
                  <a:gd name="connsiteY6" fmla="*/ 304261 h 420004"/>
                  <a:gd name="connsiteX7" fmla="*/ 304261 w 420004"/>
                  <a:gd name="connsiteY7" fmla="*/ 333998 h 420004"/>
                  <a:gd name="connsiteX8" fmla="*/ 210002 w 420004"/>
                  <a:gd name="connsiteY8" fmla="*/ 239739 h 420004"/>
                  <a:gd name="connsiteX9" fmla="*/ 115743 w 420004"/>
                  <a:gd name="connsiteY9" fmla="*/ 333998 h 420004"/>
                  <a:gd name="connsiteX10" fmla="*/ 86006 w 420004"/>
                  <a:gd name="connsiteY10" fmla="*/ 304261 h 420004"/>
                  <a:gd name="connsiteX11" fmla="*/ 180265 w 420004"/>
                  <a:gd name="connsiteY11" fmla="*/ 210002 h 420004"/>
                  <a:gd name="connsiteX12" fmla="*/ 86006 w 420004"/>
                  <a:gd name="connsiteY12" fmla="*/ 115743 h 420004"/>
                  <a:gd name="connsiteX0" fmla="*/ 0 w 247992"/>
                  <a:gd name="connsiteY0" fmla="*/ 29737 h 247992"/>
                  <a:gd name="connsiteX1" fmla="*/ 29737 w 247992"/>
                  <a:gd name="connsiteY1" fmla="*/ 0 h 247992"/>
                  <a:gd name="connsiteX2" fmla="*/ 127806 w 247992"/>
                  <a:gd name="connsiteY2" fmla="*/ 105689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3996 w 247992"/>
                  <a:gd name="connsiteY8" fmla="*/ 15373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9737 h 247992"/>
                  <a:gd name="connsiteX1" fmla="*/ 29737 w 247992"/>
                  <a:gd name="connsiteY1" fmla="*/ 0 h 247992"/>
                  <a:gd name="connsiteX2" fmla="*/ 127806 w 247992"/>
                  <a:gd name="connsiteY2" fmla="*/ 105689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3996 w 247992"/>
                  <a:gd name="connsiteY8" fmla="*/ 15373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9737 h 247992"/>
                  <a:gd name="connsiteX1" fmla="*/ 29737 w 247992"/>
                  <a:gd name="connsiteY1" fmla="*/ 0 h 247992"/>
                  <a:gd name="connsiteX2" fmla="*/ 127806 w 247992"/>
                  <a:gd name="connsiteY2" fmla="*/ 105689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7806 w 247992"/>
                  <a:gd name="connsiteY8" fmla="*/ 14230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992" h="247992">
                    <a:moveTo>
                      <a:pt x="0" y="29737"/>
                    </a:moveTo>
                    <a:lnTo>
                      <a:pt x="29737" y="0"/>
                    </a:lnTo>
                    <a:lnTo>
                      <a:pt x="127806" y="105689"/>
                    </a:lnTo>
                    <a:lnTo>
                      <a:pt x="218255" y="0"/>
                    </a:lnTo>
                    <a:lnTo>
                      <a:pt x="247992" y="29737"/>
                    </a:lnTo>
                    <a:lnTo>
                      <a:pt x="153733" y="123996"/>
                    </a:lnTo>
                    <a:lnTo>
                      <a:pt x="247992" y="218255"/>
                    </a:lnTo>
                    <a:lnTo>
                      <a:pt x="218255" y="247992"/>
                    </a:lnTo>
                    <a:lnTo>
                      <a:pt x="127806" y="142303"/>
                    </a:lnTo>
                    <a:lnTo>
                      <a:pt x="29737" y="247992"/>
                    </a:lnTo>
                    <a:lnTo>
                      <a:pt x="0" y="218255"/>
                    </a:lnTo>
                    <a:lnTo>
                      <a:pt x="94259" y="123996"/>
                    </a:lnTo>
                    <a:lnTo>
                      <a:pt x="0" y="29737"/>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grpSp>
      <p:grpSp>
        <p:nvGrpSpPr>
          <p:cNvPr id="32" name="Group 31">
            <a:extLst>
              <a:ext uri="{FF2B5EF4-FFF2-40B4-BE49-F238E27FC236}">
                <a16:creationId xmlns:a16="http://schemas.microsoft.com/office/drawing/2014/main" id="{F512EF1F-468A-126C-C00C-8C12DEBBA2B1}"/>
              </a:ext>
            </a:extLst>
          </p:cNvPr>
          <p:cNvGrpSpPr/>
          <p:nvPr/>
        </p:nvGrpSpPr>
        <p:grpSpPr>
          <a:xfrm>
            <a:off x="613349" y="2702997"/>
            <a:ext cx="987552" cy="1024128"/>
            <a:chOff x="6672064" y="2400967"/>
            <a:chExt cx="1224136" cy="1224136"/>
          </a:xfrm>
        </p:grpSpPr>
        <p:sp>
          <p:nvSpPr>
            <p:cNvPr id="33" name="Oval 32">
              <a:extLst>
                <a:ext uri="{FF2B5EF4-FFF2-40B4-BE49-F238E27FC236}">
                  <a16:creationId xmlns:a16="http://schemas.microsoft.com/office/drawing/2014/main" id="{117BAC71-686A-25E2-44F2-80B12809C018}"/>
                </a:ext>
              </a:extLst>
            </p:cNvPr>
            <p:cNvSpPr/>
            <p:nvPr/>
          </p:nvSpPr>
          <p:spPr>
            <a:xfrm>
              <a:off x="6672064" y="2400967"/>
              <a:ext cx="1224136" cy="1224136"/>
            </a:xfrm>
            <a:prstGeom prst="ellipse">
              <a:avLst/>
            </a:prstGeom>
            <a:solidFill>
              <a:srgbClr val="2B14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nvGrpSpPr>
            <p:cNvPr id="34" name="Groupe 377">
              <a:extLst>
                <a:ext uri="{FF2B5EF4-FFF2-40B4-BE49-F238E27FC236}">
                  <a16:creationId xmlns:a16="http://schemas.microsoft.com/office/drawing/2014/main" id="{A39FFD1E-2F59-3AFE-3465-ABE012C72074}"/>
                </a:ext>
              </a:extLst>
            </p:cNvPr>
            <p:cNvGrpSpPr>
              <a:grpSpLocks noChangeAspect="1"/>
            </p:cNvGrpSpPr>
            <p:nvPr/>
          </p:nvGrpSpPr>
          <p:grpSpPr>
            <a:xfrm>
              <a:off x="6905444" y="2564435"/>
              <a:ext cx="769643" cy="810458"/>
              <a:chOff x="2733675" y="808039"/>
              <a:chExt cx="419100" cy="441325"/>
            </a:xfrm>
          </p:grpSpPr>
          <p:sp>
            <p:nvSpPr>
              <p:cNvPr id="35" name="Freeform 31">
                <a:extLst>
                  <a:ext uri="{FF2B5EF4-FFF2-40B4-BE49-F238E27FC236}">
                    <a16:creationId xmlns:a16="http://schemas.microsoft.com/office/drawing/2014/main" id="{F5359DBC-F9BF-5BFE-309F-8BADB5C4B0B9}"/>
                  </a:ext>
                </a:extLst>
              </p:cNvPr>
              <p:cNvSpPr>
                <a:spLocks noEditPoints="1"/>
              </p:cNvSpPr>
              <p:nvPr/>
            </p:nvSpPr>
            <p:spPr bwMode="auto">
              <a:xfrm>
                <a:off x="2814638" y="808039"/>
                <a:ext cx="307975" cy="219075"/>
              </a:xfrm>
              <a:custGeom>
                <a:avLst/>
                <a:gdLst>
                  <a:gd name="T0" fmla="*/ 8 w 91"/>
                  <a:gd name="T1" fmla="*/ 64 h 64"/>
                  <a:gd name="T2" fmla="*/ 8 w 91"/>
                  <a:gd name="T3" fmla="*/ 60 h 64"/>
                  <a:gd name="T4" fmla="*/ 10 w 91"/>
                  <a:gd name="T5" fmla="*/ 49 h 64"/>
                  <a:gd name="T6" fmla="*/ 12 w 91"/>
                  <a:gd name="T7" fmla="*/ 44 h 64"/>
                  <a:gd name="T8" fmla="*/ 14 w 91"/>
                  <a:gd name="T9" fmla="*/ 39 h 64"/>
                  <a:gd name="T10" fmla="*/ 19 w 91"/>
                  <a:gd name="T11" fmla="*/ 31 h 64"/>
                  <a:gd name="T12" fmla="*/ 21 w 91"/>
                  <a:gd name="T13" fmla="*/ 29 h 64"/>
                  <a:gd name="T14" fmla="*/ 22 w 91"/>
                  <a:gd name="T15" fmla="*/ 27 h 64"/>
                  <a:gd name="T16" fmla="*/ 25 w 91"/>
                  <a:gd name="T17" fmla="*/ 24 h 64"/>
                  <a:gd name="T18" fmla="*/ 32 w 91"/>
                  <a:gd name="T19" fmla="*/ 20 h 64"/>
                  <a:gd name="T20" fmla="*/ 37 w 91"/>
                  <a:gd name="T21" fmla="*/ 18 h 64"/>
                  <a:gd name="T22" fmla="*/ 41 w 91"/>
                  <a:gd name="T23" fmla="*/ 16 h 64"/>
                  <a:gd name="T24" fmla="*/ 37 w 91"/>
                  <a:gd name="T25" fmla="*/ 19 h 64"/>
                  <a:gd name="T26" fmla="*/ 33 w 91"/>
                  <a:gd name="T27" fmla="*/ 22 h 64"/>
                  <a:gd name="T28" fmla="*/ 28 w 91"/>
                  <a:gd name="T29" fmla="*/ 27 h 64"/>
                  <a:gd name="T30" fmla="*/ 26 w 91"/>
                  <a:gd name="T31" fmla="*/ 30 h 64"/>
                  <a:gd name="T32" fmla="*/ 24 w 91"/>
                  <a:gd name="T33" fmla="*/ 32 h 64"/>
                  <a:gd name="T34" fmla="*/ 23 w 91"/>
                  <a:gd name="T35" fmla="*/ 34 h 64"/>
                  <a:gd name="T36" fmla="*/ 19 w 91"/>
                  <a:gd name="T37" fmla="*/ 41 h 64"/>
                  <a:gd name="T38" fmla="*/ 18 w 91"/>
                  <a:gd name="T39" fmla="*/ 46 h 64"/>
                  <a:gd name="T40" fmla="*/ 17 w 91"/>
                  <a:gd name="T41" fmla="*/ 51 h 64"/>
                  <a:gd name="T42" fmla="*/ 15 w 91"/>
                  <a:gd name="T43" fmla="*/ 60 h 64"/>
                  <a:gd name="T44" fmla="*/ 15 w 91"/>
                  <a:gd name="T45" fmla="*/ 64 h 64"/>
                  <a:gd name="T46" fmla="*/ 91 w 91"/>
                  <a:gd name="T47" fmla="*/ 64 h 64"/>
                  <a:gd name="T48" fmla="*/ 91 w 91"/>
                  <a:gd name="T49" fmla="*/ 60 h 64"/>
                  <a:gd name="T50" fmla="*/ 51 w 91"/>
                  <a:gd name="T51" fmla="*/ 13 h 64"/>
                  <a:gd name="T52" fmla="*/ 53 w 91"/>
                  <a:gd name="T53" fmla="*/ 8 h 64"/>
                  <a:gd name="T54" fmla="*/ 45 w 91"/>
                  <a:gd name="T55" fmla="*/ 0 h 64"/>
                  <a:gd name="T56" fmla="*/ 38 w 91"/>
                  <a:gd name="T57" fmla="*/ 8 h 64"/>
                  <a:gd name="T58" fmla="*/ 40 w 91"/>
                  <a:gd name="T59" fmla="*/ 13 h 64"/>
                  <a:gd name="T60" fmla="*/ 0 w 91"/>
                  <a:gd name="T61" fmla="*/ 60 h 64"/>
                  <a:gd name="T62" fmla="*/ 0 w 91"/>
                  <a:gd name="T63" fmla="*/ 64 h 64"/>
                  <a:gd name="T64" fmla="*/ 8 w 91"/>
                  <a:gd name="T65" fmla="*/ 64 h 64"/>
                  <a:gd name="T66" fmla="*/ 8 w 91"/>
                  <a:gd name="T67" fmla="*/ 64 h 64"/>
                  <a:gd name="T68" fmla="*/ 8 w 91"/>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64">
                    <a:moveTo>
                      <a:pt x="8" y="64"/>
                    </a:moveTo>
                    <a:cubicBezTo>
                      <a:pt x="8" y="63"/>
                      <a:pt x="8" y="61"/>
                      <a:pt x="8" y="60"/>
                    </a:cubicBezTo>
                    <a:cubicBezTo>
                      <a:pt x="9" y="56"/>
                      <a:pt x="9" y="52"/>
                      <a:pt x="10" y="49"/>
                    </a:cubicBezTo>
                    <a:cubicBezTo>
                      <a:pt x="11" y="47"/>
                      <a:pt x="11" y="46"/>
                      <a:pt x="12" y="44"/>
                    </a:cubicBezTo>
                    <a:cubicBezTo>
                      <a:pt x="13" y="42"/>
                      <a:pt x="13" y="41"/>
                      <a:pt x="14" y="39"/>
                    </a:cubicBezTo>
                    <a:cubicBezTo>
                      <a:pt x="15" y="36"/>
                      <a:pt x="17" y="33"/>
                      <a:pt x="19" y="31"/>
                    </a:cubicBezTo>
                    <a:cubicBezTo>
                      <a:pt x="20" y="30"/>
                      <a:pt x="20" y="29"/>
                      <a:pt x="21" y="29"/>
                    </a:cubicBezTo>
                    <a:cubicBezTo>
                      <a:pt x="21" y="28"/>
                      <a:pt x="22" y="28"/>
                      <a:pt x="22" y="27"/>
                    </a:cubicBezTo>
                    <a:cubicBezTo>
                      <a:pt x="23" y="26"/>
                      <a:pt x="24" y="25"/>
                      <a:pt x="25" y="24"/>
                    </a:cubicBezTo>
                    <a:cubicBezTo>
                      <a:pt x="28" y="23"/>
                      <a:pt x="30" y="21"/>
                      <a:pt x="32" y="20"/>
                    </a:cubicBezTo>
                    <a:cubicBezTo>
                      <a:pt x="33" y="19"/>
                      <a:pt x="35" y="18"/>
                      <a:pt x="37" y="18"/>
                    </a:cubicBezTo>
                    <a:cubicBezTo>
                      <a:pt x="39" y="17"/>
                      <a:pt x="41" y="16"/>
                      <a:pt x="41" y="16"/>
                    </a:cubicBezTo>
                    <a:cubicBezTo>
                      <a:pt x="41" y="16"/>
                      <a:pt x="40" y="17"/>
                      <a:pt x="37" y="19"/>
                    </a:cubicBezTo>
                    <a:cubicBezTo>
                      <a:pt x="36" y="20"/>
                      <a:pt x="35" y="21"/>
                      <a:pt x="33" y="22"/>
                    </a:cubicBezTo>
                    <a:cubicBezTo>
                      <a:pt x="31" y="24"/>
                      <a:pt x="30" y="25"/>
                      <a:pt x="28" y="27"/>
                    </a:cubicBezTo>
                    <a:cubicBezTo>
                      <a:pt x="27" y="28"/>
                      <a:pt x="26" y="29"/>
                      <a:pt x="26" y="30"/>
                    </a:cubicBezTo>
                    <a:cubicBezTo>
                      <a:pt x="25" y="31"/>
                      <a:pt x="25" y="31"/>
                      <a:pt x="24" y="32"/>
                    </a:cubicBezTo>
                    <a:cubicBezTo>
                      <a:pt x="24" y="32"/>
                      <a:pt x="24" y="33"/>
                      <a:pt x="23" y="34"/>
                    </a:cubicBezTo>
                    <a:cubicBezTo>
                      <a:pt x="22" y="36"/>
                      <a:pt x="21" y="39"/>
                      <a:pt x="19" y="41"/>
                    </a:cubicBezTo>
                    <a:cubicBezTo>
                      <a:pt x="19" y="43"/>
                      <a:pt x="18" y="44"/>
                      <a:pt x="18" y="46"/>
                    </a:cubicBezTo>
                    <a:cubicBezTo>
                      <a:pt x="17" y="47"/>
                      <a:pt x="17" y="49"/>
                      <a:pt x="17" y="51"/>
                    </a:cubicBezTo>
                    <a:cubicBezTo>
                      <a:pt x="16" y="54"/>
                      <a:pt x="15" y="57"/>
                      <a:pt x="15" y="60"/>
                    </a:cubicBezTo>
                    <a:cubicBezTo>
                      <a:pt x="15" y="62"/>
                      <a:pt x="15" y="63"/>
                      <a:pt x="15" y="64"/>
                    </a:cubicBezTo>
                    <a:cubicBezTo>
                      <a:pt x="41" y="64"/>
                      <a:pt x="62" y="64"/>
                      <a:pt x="91" y="64"/>
                    </a:cubicBezTo>
                    <a:cubicBezTo>
                      <a:pt x="91" y="63"/>
                      <a:pt x="91" y="62"/>
                      <a:pt x="91" y="60"/>
                    </a:cubicBezTo>
                    <a:cubicBezTo>
                      <a:pt x="91" y="36"/>
                      <a:pt x="73" y="16"/>
                      <a:pt x="51" y="13"/>
                    </a:cubicBezTo>
                    <a:cubicBezTo>
                      <a:pt x="52" y="12"/>
                      <a:pt x="53" y="10"/>
                      <a:pt x="53" y="8"/>
                    </a:cubicBezTo>
                    <a:cubicBezTo>
                      <a:pt x="53" y="3"/>
                      <a:pt x="50" y="0"/>
                      <a:pt x="45" y="0"/>
                    </a:cubicBezTo>
                    <a:cubicBezTo>
                      <a:pt x="41" y="0"/>
                      <a:pt x="38" y="3"/>
                      <a:pt x="38" y="8"/>
                    </a:cubicBezTo>
                    <a:cubicBezTo>
                      <a:pt x="38" y="10"/>
                      <a:pt x="39" y="12"/>
                      <a:pt x="40" y="13"/>
                    </a:cubicBezTo>
                    <a:cubicBezTo>
                      <a:pt x="17" y="16"/>
                      <a:pt x="0" y="36"/>
                      <a:pt x="0" y="60"/>
                    </a:cubicBezTo>
                    <a:cubicBezTo>
                      <a:pt x="0" y="62"/>
                      <a:pt x="0" y="63"/>
                      <a:pt x="0" y="64"/>
                    </a:cubicBezTo>
                    <a:lnTo>
                      <a:pt x="8" y="64"/>
                    </a:lnTo>
                    <a:close/>
                    <a:moveTo>
                      <a:pt x="8" y="64"/>
                    </a:moveTo>
                    <a:cubicBezTo>
                      <a:pt x="8" y="64"/>
                      <a:pt x="8" y="64"/>
                      <a:pt x="8"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6" name="Freeform 32">
                <a:extLst>
                  <a:ext uri="{FF2B5EF4-FFF2-40B4-BE49-F238E27FC236}">
                    <a16:creationId xmlns:a16="http://schemas.microsoft.com/office/drawing/2014/main" id="{CC699893-9C7A-0FE6-DD03-CE0251C7D326}"/>
                  </a:ext>
                </a:extLst>
              </p:cNvPr>
              <p:cNvSpPr>
                <a:spLocks/>
              </p:cNvSpPr>
              <p:nvPr/>
            </p:nvSpPr>
            <p:spPr bwMode="auto">
              <a:xfrm>
                <a:off x="2784475" y="1036638"/>
                <a:ext cx="368300" cy="31750"/>
              </a:xfrm>
              <a:custGeom>
                <a:avLst/>
                <a:gdLst>
                  <a:gd name="T0" fmla="*/ 0 w 109"/>
                  <a:gd name="T1" fmla="*/ 0 h 9"/>
                  <a:gd name="T2" fmla="*/ 109 w 109"/>
                  <a:gd name="T3" fmla="*/ 0 h 9"/>
                  <a:gd name="T4" fmla="*/ 109 w 109"/>
                  <a:gd name="T5" fmla="*/ 0 h 9"/>
                  <a:gd name="T6" fmla="*/ 99 w 109"/>
                  <a:gd name="T7" fmla="*/ 9 h 9"/>
                  <a:gd name="T8" fmla="*/ 0 w 109"/>
                  <a:gd name="T9" fmla="*/ 9 h 9"/>
                  <a:gd name="T10" fmla="*/ 0 w 109"/>
                  <a:gd name="T11" fmla="*/ 0 h 9"/>
                </a:gdLst>
                <a:ahLst/>
                <a:cxnLst>
                  <a:cxn ang="0">
                    <a:pos x="T0" y="T1"/>
                  </a:cxn>
                  <a:cxn ang="0">
                    <a:pos x="T2" y="T3"/>
                  </a:cxn>
                  <a:cxn ang="0">
                    <a:pos x="T4" y="T5"/>
                  </a:cxn>
                  <a:cxn ang="0">
                    <a:pos x="T6" y="T7"/>
                  </a:cxn>
                  <a:cxn ang="0">
                    <a:pos x="T8" y="T9"/>
                  </a:cxn>
                  <a:cxn ang="0">
                    <a:pos x="T10" y="T11"/>
                  </a:cxn>
                </a:cxnLst>
                <a:rect l="0" t="0" r="r" b="b"/>
                <a:pathLst>
                  <a:path w="109" h="9">
                    <a:moveTo>
                      <a:pt x="0" y="0"/>
                    </a:moveTo>
                    <a:cubicBezTo>
                      <a:pt x="109" y="0"/>
                      <a:pt x="109" y="0"/>
                      <a:pt x="109" y="0"/>
                    </a:cubicBezTo>
                    <a:cubicBezTo>
                      <a:pt x="109" y="0"/>
                      <a:pt x="109" y="0"/>
                      <a:pt x="109" y="0"/>
                    </a:cubicBezTo>
                    <a:cubicBezTo>
                      <a:pt x="109" y="5"/>
                      <a:pt x="104" y="9"/>
                      <a:pt x="99" y="9"/>
                    </a:cubicBezTo>
                    <a:cubicBezTo>
                      <a:pt x="0" y="9"/>
                      <a:pt x="0" y="9"/>
                      <a:pt x="0" y="9"/>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7" name="Freeform 33">
                <a:extLst>
                  <a:ext uri="{FF2B5EF4-FFF2-40B4-BE49-F238E27FC236}">
                    <a16:creationId xmlns:a16="http://schemas.microsoft.com/office/drawing/2014/main" id="{3C60FC90-344E-149F-C958-0A9A01846B19}"/>
                  </a:ext>
                </a:extLst>
              </p:cNvPr>
              <p:cNvSpPr>
                <a:spLocks noEditPoints="1"/>
              </p:cNvSpPr>
              <p:nvPr/>
            </p:nvSpPr>
            <p:spPr bwMode="auto">
              <a:xfrm>
                <a:off x="2811463" y="1087438"/>
                <a:ext cx="290513" cy="123825"/>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Freeform 34">
                <a:extLst>
                  <a:ext uri="{FF2B5EF4-FFF2-40B4-BE49-F238E27FC236}">
                    <a16:creationId xmlns:a16="http://schemas.microsoft.com/office/drawing/2014/main" id="{EB35EC62-B8E5-A468-D6D5-AE1D7B1C911B}"/>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9" name="Freeform 35">
                <a:extLst>
                  <a:ext uri="{FF2B5EF4-FFF2-40B4-BE49-F238E27FC236}">
                    <a16:creationId xmlns:a16="http://schemas.microsoft.com/office/drawing/2014/main" id="{A92838CD-18DD-CD50-A0E2-CA3951C5DC02}"/>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moveTo>
                      <a:pt x="0" y="9"/>
                    </a:move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40" name="Group 39">
            <a:extLst>
              <a:ext uri="{FF2B5EF4-FFF2-40B4-BE49-F238E27FC236}">
                <a16:creationId xmlns:a16="http://schemas.microsoft.com/office/drawing/2014/main" id="{1140C050-CE78-4EBA-F1B2-C6DCBBC5EF8C}"/>
              </a:ext>
            </a:extLst>
          </p:cNvPr>
          <p:cNvGrpSpPr/>
          <p:nvPr/>
        </p:nvGrpSpPr>
        <p:grpSpPr>
          <a:xfrm>
            <a:off x="613349" y="3816700"/>
            <a:ext cx="989966" cy="1021642"/>
            <a:chOff x="3358561" y="3981401"/>
            <a:chExt cx="1224136" cy="1224136"/>
          </a:xfrm>
        </p:grpSpPr>
        <p:sp>
          <p:nvSpPr>
            <p:cNvPr id="41" name="Oval 40">
              <a:extLst>
                <a:ext uri="{FF2B5EF4-FFF2-40B4-BE49-F238E27FC236}">
                  <a16:creationId xmlns:a16="http://schemas.microsoft.com/office/drawing/2014/main" id="{58B76E0C-4FA4-A5F9-58F6-5A4BAAD3B84B}"/>
                </a:ext>
              </a:extLst>
            </p:cNvPr>
            <p:cNvSpPr/>
            <p:nvPr/>
          </p:nvSpPr>
          <p:spPr>
            <a:xfrm>
              <a:off x="3358561" y="3981401"/>
              <a:ext cx="1224136" cy="1224136"/>
            </a:xfrm>
            <a:prstGeom prst="ellipse">
              <a:avLst/>
            </a:prstGeom>
            <a:solidFill>
              <a:srgbClr val="2B14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nvGrpSpPr>
            <p:cNvPr id="42" name="Groupe 449">
              <a:extLst>
                <a:ext uri="{FF2B5EF4-FFF2-40B4-BE49-F238E27FC236}">
                  <a16:creationId xmlns:a16="http://schemas.microsoft.com/office/drawing/2014/main" id="{BDD09912-CFCC-8A74-28B3-2A96DA47C99D}"/>
                </a:ext>
              </a:extLst>
            </p:cNvPr>
            <p:cNvGrpSpPr/>
            <p:nvPr/>
          </p:nvGrpSpPr>
          <p:grpSpPr>
            <a:xfrm>
              <a:off x="3773865" y="4220300"/>
              <a:ext cx="436239" cy="746337"/>
              <a:chOff x="6227763" y="5492751"/>
              <a:chExt cx="263525" cy="450850"/>
            </a:xfrm>
          </p:grpSpPr>
          <p:sp>
            <p:nvSpPr>
              <p:cNvPr id="43" name="Freeform 106">
                <a:extLst>
                  <a:ext uri="{FF2B5EF4-FFF2-40B4-BE49-F238E27FC236}">
                    <a16:creationId xmlns:a16="http://schemas.microsoft.com/office/drawing/2014/main" id="{EC44E7FB-EC28-597B-EEE8-283382021FCA}"/>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Verdana"/>
                </a:endParaRPr>
              </a:p>
            </p:txBody>
          </p:sp>
          <p:sp>
            <p:nvSpPr>
              <p:cNvPr id="44" name="Freeform 107">
                <a:extLst>
                  <a:ext uri="{FF2B5EF4-FFF2-40B4-BE49-F238E27FC236}">
                    <a16:creationId xmlns:a16="http://schemas.microsoft.com/office/drawing/2014/main" id="{1E846ABD-C514-8FDA-FCB9-777381DEB9EB}"/>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Verdana"/>
                </a:endParaRPr>
              </a:p>
            </p:txBody>
          </p:sp>
        </p:grpSp>
      </p:grpSp>
      <p:grpSp>
        <p:nvGrpSpPr>
          <p:cNvPr id="45" name="Group 44">
            <a:extLst>
              <a:ext uri="{FF2B5EF4-FFF2-40B4-BE49-F238E27FC236}">
                <a16:creationId xmlns:a16="http://schemas.microsoft.com/office/drawing/2014/main" id="{FECC0664-6481-C407-4A40-1FDCEF6F0C1C}"/>
              </a:ext>
            </a:extLst>
          </p:cNvPr>
          <p:cNvGrpSpPr/>
          <p:nvPr/>
        </p:nvGrpSpPr>
        <p:grpSpPr>
          <a:xfrm>
            <a:off x="604959" y="4901542"/>
            <a:ext cx="987552" cy="1024128"/>
            <a:chOff x="5015880" y="2400967"/>
            <a:chExt cx="1224136" cy="1224136"/>
          </a:xfrm>
        </p:grpSpPr>
        <p:sp>
          <p:nvSpPr>
            <p:cNvPr id="46" name="Oval 45">
              <a:extLst>
                <a:ext uri="{FF2B5EF4-FFF2-40B4-BE49-F238E27FC236}">
                  <a16:creationId xmlns:a16="http://schemas.microsoft.com/office/drawing/2014/main" id="{36D3314A-FFDB-F1E8-53DF-4C4344F30633}"/>
                </a:ext>
              </a:extLst>
            </p:cNvPr>
            <p:cNvSpPr/>
            <p:nvPr/>
          </p:nvSpPr>
          <p:spPr>
            <a:xfrm>
              <a:off x="5015880" y="2400967"/>
              <a:ext cx="1224136" cy="1224136"/>
            </a:xfrm>
            <a:prstGeom prst="ellipse">
              <a:avLst/>
            </a:prstGeom>
            <a:solidFill>
              <a:srgbClr val="2B14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nvGrpSpPr>
            <p:cNvPr id="47" name="Group 46">
              <a:extLst>
                <a:ext uri="{FF2B5EF4-FFF2-40B4-BE49-F238E27FC236}">
                  <a16:creationId xmlns:a16="http://schemas.microsoft.com/office/drawing/2014/main" id="{FF58B351-D5DE-F5C1-1760-6733C8784126}"/>
                </a:ext>
              </a:extLst>
            </p:cNvPr>
            <p:cNvGrpSpPr/>
            <p:nvPr/>
          </p:nvGrpSpPr>
          <p:grpSpPr>
            <a:xfrm>
              <a:off x="5347154" y="2723606"/>
              <a:ext cx="561587" cy="585406"/>
              <a:chOff x="3150670" y="3771077"/>
              <a:chExt cx="337947" cy="352281"/>
            </a:xfrm>
          </p:grpSpPr>
          <p:grpSp>
            <p:nvGrpSpPr>
              <p:cNvPr id="48" name="Groupe 637">
                <a:extLst>
                  <a:ext uri="{FF2B5EF4-FFF2-40B4-BE49-F238E27FC236}">
                    <a16:creationId xmlns:a16="http://schemas.microsoft.com/office/drawing/2014/main" id="{18AE4306-3FC0-A1B2-A7B1-63FA743B1222}"/>
                  </a:ext>
                </a:extLst>
              </p:cNvPr>
              <p:cNvGrpSpPr/>
              <p:nvPr/>
            </p:nvGrpSpPr>
            <p:grpSpPr>
              <a:xfrm>
                <a:off x="3205012" y="3771077"/>
                <a:ext cx="235789" cy="352281"/>
                <a:chOff x="9593262" y="3790949"/>
                <a:chExt cx="266700" cy="398463"/>
              </a:xfrm>
            </p:grpSpPr>
            <p:sp>
              <p:nvSpPr>
                <p:cNvPr id="50" name="Freeform 195">
                  <a:extLst>
                    <a:ext uri="{FF2B5EF4-FFF2-40B4-BE49-F238E27FC236}">
                      <a16:creationId xmlns:a16="http://schemas.microsoft.com/office/drawing/2014/main" id="{35EDC5CA-CE60-1CD5-E790-CEFE08A0D35D}"/>
                    </a:ext>
                  </a:extLst>
                </p:cNvPr>
                <p:cNvSpPr>
                  <a:spLocks/>
                </p:cNvSpPr>
                <p:nvPr/>
              </p:nvSpPr>
              <p:spPr bwMode="auto">
                <a:xfrm>
                  <a:off x="9593262" y="3790949"/>
                  <a:ext cx="266700" cy="398463"/>
                </a:xfrm>
                <a:custGeom>
                  <a:avLst/>
                  <a:gdLst>
                    <a:gd name="T0" fmla="*/ 70 w 71"/>
                    <a:gd name="T1" fmla="*/ 106 h 106"/>
                    <a:gd name="T2" fmla="*/ 3 w 71"/>
                    <a:gd name="T3" fmla="*/ 104 h 106"/>
                    <a:gd name="T4" fmla="*/ 2 w 71"/>
                    <a:gd name="T5" fmla="*/ 2 h 106"/>
                    <a:gd name="T6" fmla="*/ 70 w 71"/>
                    <a:gd name="T7" fmla="*/ 2 h 106"/>
                    <a:gd name="T8" fmla="*/ 70 w 71"/>
                    <a:gd name="T9" fmla="*/ 106 h 106"/>
                  </a:gdLst>
                  <a:ahLst/>
                  <a:cxnLst>
                    <a:cxn ang="0">
                      <a:pos x="T0" y="T1"/>
                    </a:cxn>
                    <a:cxn ang="0">
                      <a:pos x="T2" y="T3"/>
                    </a:cxn>
                    <a:cxn ang="0">
                      <a:pos x="T4" y="T5"/>
                    </a:cxn>
                    <a:cxn ang="0">
                      <a:pos x="T6" y="T7"/>
                    </a:cxn>
                    <a:cxn ang="0">
                      <a:pos x="T8" y="T9"/>
                    </a:cxn>
                  </a:cxnLst>
                  <a:rect l="0" t="0" r="r" b="b"/>
                  <a:pathLst>
                    <a:path w="71" h="106">
                      <a:moveTo>
                        <a:pt x="70" y="106"/>
                      </a:moveTo>
                      <a:cubicBezTo>
                        <a:pt x="3" y="104"/>
                        <a:pt x="3" y="104"/>
                        <a:pt x="3" y="104"/>
                      </a:cubicBezTo>
                      <a:cubicBezTo>
                        <a:pt x="3" y="104"/>
                        <a:pt x="0" y="38"/>
                        <a:pt x="2" y="2"/>
                      </a:cubicBezTo>
                      <a:cubicBezTo>
                        <a:pt x="22" y="0"/>
                        <a:pt x="50" y="0"/>
                        <a:pt x="70" y="2"/>
                      </a:cubicBezTo>
                      <a:cubicBezTo>
                        <a:pt x="71" y="49"/>
                        <a:pt x="70" y="106"/>
                        <a:pt x="70" y="106"/>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1" name="Freeform 196">
                  <a:extLst>
                    <a:ext uri="{FF2B5EF4-FFF2-40B4-BE49-F238E27FC236}">
                      <a16:creationId xmlns:a16="http://schemas.microsoft.com/office/drawing/2014/main" id="{AD1BF8C8-5F53-0D6B-0D96-C839F9DCEC20}"/>
                    </a:ext>
                  </a:extLst>
                </p:cNvPr>
                <p:cNvSpPr>
                  <a:spLocks/>
                </p:cNvSpPr>
                <p:nvPr/>
              </p:nvSpPr>
              <p:spPr bwMode="auto">
                <a:xfrm>
                  <a:off x="9617083" y="3810000"/>
                  <a:ext cx="217488" cy="296862"/>
                </a:xfrm>
                <a:custGeom>
                  <a:avLst/>
                  <a:gdLst>
                    <a:gd name="T0" fmla="*/ 58 w 58"/>
                    <a:gd name="T1" fmla="*/ 79 h 79"/>
                    <a:gd name="T2" fmla="*/ 2 w 58"/>
                    <a:gd name="T3" fmla="*/ 77 h 79"/>
                    <a:gd name="T4" fmla="*/ 2 w 58"/>
                    <a:gd name="T5" fmla="*/ 2 h 79"/>
                    <a:gd name="T6" fmla="*/ 58 w 58"/>
                    <a:gd name="T7" fmla="*/ 2 h 79"/>
                    <a:gd name="T8" fmla="*/ 58 w 58"/>
                    <a:gd name="T9" fmla="*/ 79 h 79"/>
                  </a:gdLst>
                  <a:ahLst/>
                  <a:cxnLst>
                    <a:cxn ang="0">
                      <a:pos x="T0" y="T1"/>
                    </a:cxn>
                    <a:cxn ang="0">
                      <a:pos x="T2" y="T3"/>
                    </a:cxn>
                    <a:cxn ang="0">
                      <a:pos x="T4" y="T5"/>
                    </a:cxn>
                    <a:cxn ang="0">
                      <a:pos x="T6" y="T7"/>
                    </a:cxn>
                    <a:cxn ang="0">
                      <a:pos x="T8" y="T9"/>
                    </a:cxn>
                  </a:cxnLst>
                  <a:rect l="0" t="0" r="r" b="b"/>
                  <a:pathLst>
                    <a:path w="58" h="79">
                      <a:moveTo>
                        <a:pt x="58" y="79"/>
                      </a:moveTo>
                      <a:cubicBezTo>
                        <a:pt x="2" y="77"/>
                        <a:pt x="2" y="77"/>
                        <a:pt x="2" y="77"/>
                      </a:cubicBezTo>
                      <a:cubicBezTo>
                        <a:pt x="2" y="77"/>
                        <a:pt x="0" y="28"/>
                        <a:pt x="2" y="2"/>
                      </a:cubicBezTo>
                      <a:cubicBezTo>
                        <a:pt x="19" y="1"/>
                        <a:pt x="41" y="0"/>
                        <a:pt x="58" y="2"/>
                      </a:cubicBezTo>
                      <a:cubicBezTo>
                        <a:pt x="58" y="37"/>
                        <a:pt x="58" y="79"/>
                        <a:pt x="58" y="79"/>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2" name="Freeform 197">
                  <a:extLst>
                    <a:ext uri="{FF2B5EF4-FFF2-40B4-BE49-F238E27FC236}">
                      <a16:creationId xmlns:a16="http://schemas.microsoft.com/office/drawing/2014/main" id="{7BF0B84C-9368-2A02-6D9E-1CD78AACE8FE}"/>
                    </a:ext>
                  </a:extLst>
                </p:cNvPr>
                <p:cNvSpPr>
                  <a:spLocks/>
                </p:cNvSpPr>
                <p:nvPr/>
              </p:nvSpPr>
              <p:spPr bwMode="auto">
                <a:xfrm>
                  <a:off x="9699626" y="4117975"/>
                  <a:ext cx="55563" cy="52388"/>
                </a:xfrm>
                <a:custGeom>
                  <a:avLst/>
                  <a:gdLst>
                    <a:gd name="T0" fmla="*/ 2 w 15"/>
                    <a:gd name="T1" fmla="*/ 11 h 14"/>
                    <a:gd name="T2" fmla="*/ 4 w 15"/>
                    <a:gd name="T3" fmla="*/ 2 h 14"/>
                    <a:gd name="T4" fmla="*/ 13 w 15"/>
                    <a:gd name="T5" fmla="*/ 3 h 14"/>
                    <a:gd name="T6" fmla="*/ 11 w 15"/>
                    <a:gd name="T7" fmla="*/ 12 h 14"/>
                    <a:gd name="T8" fmla="*/ 2 w 15"/>
                    <a:gd name="T9" fmla="*/ 11 h 14"/>
                  </a:gdLst>
                  <a:ahLst/>
                  <a:cxnLst>
                    <a:cxn ang="0">
                      <a:pos x="T0" y="T1"/>
                    </a:cxn>
                    <a:cxn ang="0">
                      <a:pos x="T2" y="T3"/>
                    </a:cxn>
                    <a:cxn ang="0">
                      <a:pos x="T4" y="T5"/>
                    </a:cxn>
                    <a:cxn ang="0">
                      <a:pos x="T6" y="T7"/>
                    </a:cxn>
                    <a:cxn ang="0">
                      <a:pos x="T8" y="T9"/>
                    </a:cxn>
                  </a:cxnLst>
                  <a:rect l="0" t="0" r="r" b="b"/>
                  <a:pathLst>
                    <a:path w="15" h="14">
                      <a:moveTo>
                        <a:pt x="2" y="11"/>
                      </a:moveTo>
                      <a:cubicBezTo>
                        <a:pt x="0" y="8"/>
                        <a:pt x="1" y="4"/>
                        <a:pt x="4" y="2"/>
                      </a:cubicBezTo>
                      <a:cubicBezTo>
                        <a:pt x="7" y="0"/>
                        <a:pt x="11" y="1"/>
                        <a:pt x="13" y="3"/>
                      </a:cubicBezTo>
                      <a:cubicBezTo>
                        <a:pt x="15" y="6"/>
                        <a:pt x="14" y="10"/>
                        <a:pt x="11" y="12"/>
                      </a:cubicBezTo>
                      <a:cubicBezTo>
                        <a:pt x="8" y="14"/>
                        <a:pt x="5" y="14"/>
                        <a:pt x="2" y="11"/>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49" name="Multiply 20">
                <a:extLst>
                  <a:ext uri="{FF2B5EF4-FFF2-40B4-BE49-F238E27FC236}">
                    <a16:creationId xmlns:a16="http://schemas.microsoft.com/office/drawing/2014/main" id="{A8118031-2ACA-17A7-4E02-D61F97DE5CD4}"/>
                  </a:ext>
                </a:extLst>
              </p:cNvPr>
              <p:cNvSpPr/>
              <p:nvPr/>
            </p:nvSpPr>
            <p:spPr>
              <a:xfrm>
                <a:off x="3150670" y="3782378"/>
                <a:ext cx="337947" cy="326516"/>
              </a:xfrm>
              <a:custGeom>
                <a:avLst/>
                <a:gdLst>
                  <a:gd name="connsiteX0" fmla="*/ 86006 w 420004"/>
                  <a:gd name="connsiteY0" fmla="*/ 115743 h 420004"/>
                  <a:gd name="connsiteX1" fmla="*/ 115743 w 420004"/>
                  <a:gd name="connsiteY1" fmla="*/ 86006 h 420004"/>
                  <a:gd name="connsiteX2" fmla="*/ 210002 w 420004"/>
                  <a:gd name="connsiteY2" fmla="*/ 180265 h 420004"/>
                  <a:gd name="connsiteX3" fmla="*/ 304261 w 420004"/>
                  <a:gd name="connsiteY3" fmla="*/ 86006 h 420004"/>
                  <a:gd name="connsiteX4" fmla="*/ 333998 w 420004"/>
                  <a:gd name="connsiteY4" fmla="*/ 115743 h 420004"/>
                  <a:gd name="connsiteX5" fmla="*/ 239739 w 420004"/>
                  <a:gd name="connsiteY5" fmla="*/ 210002 h 420004"/>
                  <a:gd name="connsiteX6" fmla="*/ 333998 w 420004"/>
                  <a:gd name="connsiteY6" fmla="*/ 304261 h 420004"/>
                  <a:gd name="connsiteX7" fmla="*/ 304261 w 420004"/>
                  <a:gd name="connsiteY7" fmla="*/ 333998 h 420004"/>
                  <a:gd name="connsiteX8" fmla="*/ 210002 w 420004"/>
                  <a:gd name="connsiteY8" fmla="*/ 239739 h 420004"/>
                  <a:gd name="connsiteX9" fmla="*/ 115743 w 420004"/>
                  <a:gd name="connsiteY9" fmla="*/ 333998 h 420004"/>
                  <a:gd name="connsiteX10" fmla="*/ 86006 w 420004"/>
                  <a:gd name="connsiteY10" fmla="*/ 304261 h 420004"/>
                  <a:gd name="connsiteX11" fmla="*/ 180265 w 420004"/>
                  <a:gd name="connsiteY11" fmla="*/ 210002 h 420004"/>
                  <a:gd name="connsiteX12" fmla="*/ 86006 w 420004"/>
                  <a:gd name="connsiteY12" fmla="*/ 115743 h 420004"/>
                  <a:gd name="connsiteX0" fmla="*/ 0 w 247992"/>
                  <a:gd name="connsiteY0" fmla="*/ 29737 h 247992"/>
                  <a:gd name="connsiteX1" fmla="*/ 29737 w 247992"/>
                  <a:gd name="connsiteY1" fmla="*/ 0 h 247992"/>
                  <a:gd name="connsiteX2" fmla="*/ 127806 w 247992"/>
                  <a:gd name="connsiteY2" fmla="*/ 105689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3996 w 247992"/>
                  <a:gd name="connsiteY8" fmla="*/ 15373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9737 h 247992"/>
                  <a:gd name="connsiteX1" fmla="*/ 29737 w 247992"/>
                  <a:gd name="connsiteY1" fmla="*/ 0 h 247992"/>
                  <a:gd name="connsiteX2" fmla="*/ 127806 w 247992"/>
                  <a:gd name="connsiteY2" fmla="*/ 105689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3996 w 247992"/>
                  <a:gd name="connsiteY8" fmla="*/ 15373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9737 h 247992"/>
                  <a:gd name="connsiteX1" fmla="*/ 29737 w 247992"/>
                  <a:gd name="connsiteY1" fmla="*/ 0 h 247992"/>
                  <a:gd name="connsiteX2" fmla="*/ 127806 w 247992"/>
                  <a:gd name="connsiteY2" fmla="*/ 105689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7806 w 247992"/>
                  <a:gd name="connsiteY8" fmla="*/ 14230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9737 h 247992"/>
                  <a:gd name="connsiteX1" fmla="*/ 29737 w 247992"/>
                  <a:gd name="connsiteY1" fmla="*/ 0 h 247992"/>
                  <a:gd name="connsiteX2" fmla="*/ 127806 w 247992"/>
                  <a:gd name="connsiteY2" fmla="*/ 114077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7806 w 247992"/>
                  <a:gd name="connsiteY8" fmla="*/ 14230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9737 h 247992"/>
                  <a:gd name="connsiteX1" fmla="*/ 24146 w 247992"/>
                  <a:gd name="connsiteY1" fmla="*/ 8388 h 247992"/>
                  <a:gd name="connsiteX2" fmla="*/ 127806 w 247992"/>
                  <a:gd name="connsiteY2" fmla="*/ 114077 h 247992"/>
                  <a:gd name="connsiteX3" fmla="*/ 218255 w 247992"/>
                  <a:gd name="connsiteY3" fmla="*/ 0 h 247992"/>
                  <a:gd name="connsiteX4" fmla="*/ 247992 w 247992"/>
                  <a:gd name="connsiteY4" fmla="*/ 29737 h 247992"/>
                  <a:gd name="connsiteX5" fmla="*/ 153733 w 247992"/>
                  <a:gd name="connsiteY5" fmla="*/ 123996 h 247992"/>
                  <a:gd name="connsiteX6" fmla="*/ 247992 w 247992"/>
                  <a:gd name="connsiteY6" fmla="*/ 218255 h 247992"/>
                  <a:gd name="connsiteX7" fmla="*/ 218255 w 247992"/>
                  <a:gd name="connsiteY7" fmla="*/ 247992 h 247992"/>
                  <a:gd name="connsiteX8" fmla="*/ 127806 w 247992"/>
                  <a:gd name="connsiteY8" fmla="*/ 142303 h 247992"/>
                  <a:gd name="connsiteX9" fmla="*/ 29737 w 247992"/>
                  <a:gd name="connsiteY9" fmla="*/ 247992 h 247992"/>
                  <a:gd name="connsiteX10" fmla="*/ 0 w 247992"/>
                  <a:gd name="connsiteY10" fmla="*/ 218255 h 247992"/>
                  <a:gd name="connsiteX11" fmla="*/ 94259 w 247992"/>
                  <a:gd name="connsiteY11" fmla="*/ 123996 h 247992"/>
                  <a:gd name="connsiteX12" fmla="*/ 0 w 247992"/>
                  <a:gd name="connsiteY12" fmla="*/ 29737 h 247992"/>
                  <a:gd name="connsiteX0" fmla="*/ 0 w 247992"/>
                  <a:gd name="connsiteY0" fmla="*/ 21349 h 239604"/>
                  <a:gd name="connsiteX1" fmla="*/ 24146 w 247992"/>
                  <a:gd name="connsiteY1" fmla="*/ 0 h 239604"/>
                  <a:gd name="connsiteX2" fmla="*/ 127806 w 247992"/>
                  <a:gd name="connsiteY2" fmla="*/ 105689 h 239604"/>
                  <a:gd name="connsiteX3" fmla="*/ 222448 w 247992"/>
                  <a:gd name="connsiteY3" fmla="*/ 0 h 239604"/>
                  <a:gd name="connsiteX4" fmla="*/ 247992 w 247992"/>
                  <a:gd name="connsiteY4" fmla="*/ 21349 h 239604"/>
                  <a:gd name="connsiteX5" fmla="*/ 153733 w 247992"/>
                  <a:gd name="connsiteY5" fmla="*/ 115608 h 239604"/>
                  <a:gd name="connsiteX6" fmla="*/ 247992 w 247992"/>
                  <a:gd name="connsiteY6" fmla="*/ 209867 h 239604"/>
                  <a:gd name="connsiteX7" fmla="*/ 218255 w 247992"/>
                  <a:gd name="connsiteY7" fmla="*/ 239604 h 239604"/>
                  <a:gd name="connsiteX8" fmla="*/ 127806 w 247992"/>
                  <a:gd name="connsiteY8" fmla="*/ 133915 h 239604"/>
                  <a:gd name="connsiteX9" fmla="*/ 29737 w 247992"/>
                  <a:gd name="connsiteY9" fmla="*/ 239604 h 239604"/>
                  <a:gd name="connsiteX10" fmla="*/ 0 w 247992"/>
                  <a:gd name="connsiteY10" fmla="*/ 209867 h 239604"/>
                  <a:gd name="connsiteX11" fmla="*/ 94259 w 247992"/>
                  <a:gd name="connsiteY11" fmla="*/ 115608 h 239604"/>
                  <a:gd name="connsiteX12" fmla="*/ 0 w 247992"/>
                  <a:gd name="connsiteY12" fmla="*/ 21349 h 239604"/>
                  <a:gd name="connsiteX0" fmla="*/ 0 w 247992"/>
                  <a:gd name="connsiteY0" fmla="*/ 21349 h 239604"/>
                  <a:gd name="connsiteX1" fmla="*/ 24146 w 247992"/>
                  <a:gd name="connsiteY1" fmla="*/ 0 h 239604"/>
                  <a:gd name="connsiteX2" fmla="*/ 127806 w 247992"/>
                  <a:gd name="connsiteY2" fmla="*/ 105689 h 239604"/>
                  <a:gd name="connsiteX3" fmla="*/ 222448 w 247992"/>
                  <a:gd name="connsiteY3" fmla="*/ 0 h 239604"/>
                  <a:gd name="connsiteX4" fmla="*/ 247992 w 247992"/>
                  <a:gd name="connsiteY4" fmla="*/ 21349 h 239604"/>
                  <a:gd name="connsiteX5" fmla="*/ 153733 w 247992"/>
                  <a:gd name="connsiteY5" fmla="*/ 115608 h 239604"/>
                  <a:gd name="connsiteX6" fmla="*/ 242400 w 247992"/>
                  <a:gd name="connsiteY6" fmla="*/ 215458 h 239604"/>
                  <a:gd name="connsiteX7" fmla="*/ 218255 w 247992"/>
                  <a:gd name="connsiteY7" fmla="*/ 239604 h 239604"/>
                  <a:gd name="connsiteX8" fmla="*/ 127806 w 247992"/>
                  <a:gd name="connsiteY8" fmla="*/ 133915 h 239604"/>
                  <a:gd name="connsiteX9" fmla="*/ 29737 w 247992"/>
                  <a:gd name="connsiteY9" fmla="*/ 239604 h 239604"/>
                  <a:gd name="connsiteX10" fmla="*/ 0 w 247992"/>
                  <a:gd name="connsiteY10" fmla="*/ 209867 h 239604"/>
                  <a:gd name="connsiteX11" fmla="*/ 94259 w 247992"/>
                  <a:gd name="connsiteY11" fmla="*/ 115608 h 239604"/>
                  <a:gd name="connsiteX12" fmla="*/ 0 w 247992"/>
                  <a:gd name="connsiteY12" fmla="*/ 21349 h 239604"/>
                  <a:gd name="connsiteX0" fmla="*/ 0 w 247992"/>
                  <a:gd name="connsiteY0" fmla="*/ 21349 h 239604"/>
                  <a:gd name="connsiteX1" fmla="*/ 24146 w 247992"/>
                  <a:gd name="connsiteY1" fmla="*/ 0 h 239604"/>
                  <a:gd name="connsiteX2" fmla="*/ 127806 w 247992"/>
                  <a:gd name="connsiteY2" fmla="*/ 105689 h 239604"/>
                  <a:gd name="connsiteX3" fmla="*/ 222448 w 247992"/>
                  <a:gd name="connsiteY3" fmla="*/ 0 h 239604"/>
                  <a:gd name="connsiteX4" fmla="*/ 247992 w 247992"/>
                  <a:gd name="connsiteY4" fmla="*/ 21349 h 239604"/>
                  <a:gd name="connsiteX5" fmla="*/ 153733 w 247992"/>
                  <a:gd name="connsiteY5" fmla="*/ 115608 h 239604"/>
                  <a:gd name="connsiteX6" fmla="*/ 242400 w 247992"/>
                  <a:gd name="connsiteY6" fmla="*/ 215458 h 239604"/>
                  <a:gd name="connsiteX7" fmla="*/ 218255 w 247992"/>
                  <a:gd name="connsiteY7" fmla="*/ 239604 h 239604"/>
                  <a:gd name="connsiteX8" fmla="*/ 127806 w 247992"/>
                  <a:gd name="connsiteY8" fmla="*/ 133915 h 239604"/>
                  <a:gd name="connsiteX9" fmla="*/ 29737 w 247992"/>
                  <a:gd name="connsiteY9" fmla="*/ 239604 h 239604"/>
                  <a:gd name="connsiteX10" fmla="*/ 8388 w 247992"/>
                  <a:gd name="connsiteY10" fmla="*/ 214060 h 239604"/>
                  <a:gd name="connsiteX11" fmla="*/ 94259 w 247992"/>
                  <a:gd name="connsiteY11" fmla="*/ 115608 h 239604"/>
                  <a:gd name="connsiteX12" fmla="*/ 0 w 247992"/>
                  <a:gd name="connsiteY12" fmla="*/ 21349 h 239604"/>
                  <a:gd name="connsiteX0" fmla="*/ 0 w 247992"/>
                  <a:gd name="connsiteY0" fmla="*/ 21349 h 239604"/>
                  <a:gd name="connsiteX1" fmla="*/ 24146 w 247992"/>
                  <a:gd name="connsiteY1" fmla="*/ 0 h 239604"/>
                  <a:gd name="connsiteX2" fmla="*/ 127806 w 247992"/>
                  <a:gd name="connsiteY2" fmla="*/ 105689 h 239604"/>
                  <a:gd name="connsiteX3" fmla="*/ 222448 w 247992"/>
                  <a:gd name="connsiteY3" fmla="*/ 0 h 239604"/>
                  <a:gd name="connsiteX4" fmla="*/ 247992 w 247992"/>
                  <a:gd name="connsiteY4" fmla="*/ 21349 h 239604"/>
                  <a:gd name="connsiteX5" fmla="*/ 153733 w 247992"/>
                  <a:gd name="connsiteY5" fmla="*/ 115608 h 239604"/>
                  <a:gd name="connsiteX6" fmla="*/ 242400 w 247992"/>
                  <a:gd name="connsiteY6" fmla="*/ 215458 h 239604"/>
                  <a:gd name="connsiteX7" fmla="*/ 218255 w 247992"/>
                  <a:gd name="connsiteY7" fmla="*/ 239604 h 239604"/>
                  <a:gd name="connsiteX8" fmla="*/ 127806 w 247992"/>
                  <a:gd name="connsiteY8" fmla="*/ 133915 h 239604"/>
                  <a:gd name="connsiteX9" fmla="*/ 29737 w 247992"/>
                  <a:gd name="connsiteY9" fmla="*/ 239604 h 239604"/>
                  <a:gd name="connsiteX10" fmla="*/ 8388 w 247992"/>
                  <a:gd name="connsiteY10" fmla="*/ 214060 h 239604"/>
                  <a:gd name="connsiteX11" fmla="*/ 105442 w 247992"/>
                  <a:gd name="connsiteY11" fmla="*/ 118404 h 239604"/>
                  <a:gd name="connsiteX12" fmla="*/ 0 w 247992"/>
                  <a:gd name="connsiteY12" fmla="*/ 21349 h 23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992" h="239604">
                    <a:moveTo>
                      <a:pt x="0" y="21349"/>
                    </a:moveTo>
                    <a:lnTo>
                      <a:pt x="24146" y="0"/>
                    </a:lnTo>
                    <a:lnTo>
                      <a:pt x="127806" y="105689"/>
                    </a:lnTo>
                    <a:lnTo>
                      <a:pt x="222448" y="0"/>
                    </a:lnTo>
                    <a:lnTo>
                      <a:pt x="247992" y="21349"/>
                    </a:lnTo>
                    <a:lnTo>
                      <a:pt x="153733" y="115608"/>
                    </a:lnTo>
                    <a:lnTo>
                      <a:pt x="242400" y="215458"/>
                    </a:lnTo>
                    <a:lnTo>
                      <a:pt x="218255" y="239604"/>
                    </a:lnTo>
                    <a:lnTo>
                      <a:pt x="127806" y="133915"/>
                    </a:lnTo>
                    <a:lnTo>
                      <a:pt x="29737" y="239604"/>
                    </a:lnTo>
                    <a:lnTo>
                      <a:pt x="8388" y="214060"/>
                    </a:lnTo>
                    <a:lnTo>
                      <a:pt x="105442" y="118404"/>
                    </a:lnTo>
                    <a:lnTo>
                      <a:pt x="0" y="21349"/>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grpSp>
      <p:grpSp>
        <p:nvGrpSpPr>
          <p:cNvPr id="53" name="Group 52">
            <a:extLst>
              <a:ext uri="{FF2B5EF4-FFF2-40B4-BE49-F238E27FC236}">
                <a16:creationId xmlns:a16="http://schemas.microsoft.com/office/drawing/2014/main" id="{FA26D557-D95E-1C86-9787-33770564B187}"/>
              </a:ext>
            </a:extLst>
          </p:cNvPr>
          <p:cNvGrpSpPr/>
          <p:nvPr/>
        </p:nvGrpSpPr>
        <p:grpSpPr>
          <a:xfrm>
            <a:off x="1810658" y="4869539"/>
            <a:ext cx="987552" cy="1024128"/>
            <a:chOff x="8557853" y="2400967"/>
            <a:chExt cx="1224136" cy="1224136"/>
          </a:xfrm>
        </p:grpSpPr>
        <p:sp>
          <p:nvSpPr>
            <p:cNvPr id="54" name="Oval 53">
              <a:extLst>
                <a:ext uri="{FF2B5EF4-FFF2-40B4-BE49-F238E27FC236}">
                  <a16:creationId xmlns:a16="http://schemas.microsoft.com/office/drawing/2014/main" id="{B29BDBE1-D6F9-0EEE-DC56-4F1508B98370}"/>
                </a:ext>
              </a:extLst>
            </p:cNvPr>
            <p:cNvSpPr/>
            <p:nvPr/>
          </p:nvSpPr>
          <p:spPr>
            <a:xfrm>
              <a:off x="8557853" y="2400967"/>
              <a:ext cx="1224136" cy="1224136"/>
            </a:xfrm>
            <a:prstGeom prst="ellipse">
              <a:avLst/>
            </a:prstGeom>
            <a:solidFill>
              <a:srgbClr val="2B14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grpSp>
          <p:nvGrpSpPr>
            <p:cNvPr id="55" name="Groupe 411">
              <a:extLst>
                <a:ext uri="{FF2B5EF4-FFF2-40B4-BE49-F238E27FC236}">
                  <a16:creationId xmlns:a16="http://schemas.microsoft.com/office/drawing/2014/main" id="{91D172AA-D787-65AC-8623-AFBF27746A6A}"/>
                </a:ext>
              </a:extLst>
            </p:cNvPr>
            <p:cNvGrpSpPr/>
            <p:nvPr/>
          </p:nvGrpSpPr>
          <p:grpSpPr>
            <a:xfrm>
              <a:off x="8710724" y="2731653"/>
              <a:ext cx="918394" cy="589884"/>
              <a:chOff x="800101" y="1985962"/>
              <a:chExt cx="608012" cy="390526"/>
            </a:xfrm>
          </p:grpSpPr>
          <p:sp>
            <p:nvSpPr>
              <p:cNvPr id="56" name="Freeform 10">
                <a:extLst>
                  <a:ext uri="{FF2B5EF4-FFF2-40B4-BE49-F238E27FC236}">
                    <a16:creationId xmlns:a16="http://schemas.microsoft.com/office/drawing/2014/main" id="{5A40EE24-8EC4-84F5-53D8-5B72068651D7}"/>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7" name="Freeform 11">
                <a:extLst>
                  <a:ext uri="{FF2B5EF4-FFF2-40B4-BE49-F238E27FC236}">
                    <a16:creationId xmlns:a16="http://schemas.microsoft.com/office/drawing/2014/main" id="{FDDFC1B1-0A3B-937B-6C59-FF06CC94F4E2}"/>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8" name="Freeform 12">
                <a:extLst>
                  <a:ext uri="{FF2B5EF4-FFF2-40B4-BE49-F238E27FC236}">
                    <a16:creationId xmlns:a16="http://schemas.microsoft.com/office/drawing/2014/main" id="{0D0EA55F-5A4A-FD42-D787-55E8CC061305}"/>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9" name="Freeform 13">
                <a:extLst>
                  <a:ext uri="{FF2B5EF4-FFF2-40B4-BE49-F238E27FC236}">
                    <a16:creationId xmlns:a16="http://schemas.microsoft.com/office/drawing/2014/main" id="{911E2231-D921-BF23-2625-1BC3E97D13A6}"/>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0" name="Rectangle 14">
                <a:extLst>
                  <a:ext uri="{FF2B5EF4-FFF2-40B4-BE49-F238E27FC236}">
                    <a16:creationId xmlns:a16="http://schemas.microsoft.com/office/drawing/2014/main" id="{7CFE033A-CF96-B1B9-A8BD-6AACE8819A55}"/>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1" name="Freeform 15">
                <a:extLst>
                  <a:ext uri="{FF2B5EF4-FFF2-40B4-BE49-F238E27FC236}">
                    <a16:creationId xmlns:a16="http://schemas.microsoft.com/office/drawing/2014/main" id="{52B455B4-D4C2-5879-231D-2623A9695C9B}"/>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2" name="Freeform 16">
                <a:extLst>
                  <a:ext uri="{FF2B5EF4-FFF2-40B4-BE49-F238E27FC236}">
                    <a16:creationId xmlns:a16="http://schemas.microsoft.com/office/drawing/2014/main" id="{512B9DC8-87B5-E5BB-CCF1-EFC55EBCA829}"/>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3" name="Freeform 17">
                <a:extLst>
                  <a:ext uri="{FF2B5EF4-FFF2-40B4-BE49-F238E27FC236}">
                    <a16:creationId xmlns:a16="http://schemas.microsoft.com/office/drawing/2014/main" id="{3B591EAC-76B5-2091-26CB-C23D86BFC305}"/>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4" name="Freeform 18">
                <a:extLst>
                  <a:ext uri="{FF2B5EF4-FFF2-40B4-BE49-F238E27FC236}">
                    <a16:creationId xmlns:a16="http://schemas.microsoft.com/office/drawing/2014/main" id="{F86420D2-EBBD-A71D-BC80-B660804416FC}"/>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5" name="Freeform 19">
                <a:extLst>
                  <a:ext uri="{FF2B5EF4-FFF2-40B4-BE49-F238E27FC236}">
                    <a16:creationId xmlns:a16="http://schemas.microsoft.com/office/drawing/2014/main" id="{C4AAB097-E043-BFCD-3E13-DEC5C3774914}"/>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6" name="Freeform 20">
                <a:extLst>
                  <a:ext uri="{FF2B5EF4-FFF2-40B4-BE49-F238E27FC236}">
                    <a16:creationId xmlns:a16="http://schemas.microsoft.com/office/drawing/2014/main" id="{DFAABFD8-2A46-7AB8-2940-8A87C7DC6C43}"/>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7" name="Freeform 21">
                <a:extLst>
                  <a:ext uri="{FF2B5EF4-FFF2-40B4-BE49-F238E27FC236}">
                    <a16:creationId xmlns:a16="http://schemas.microsoft.com/office/drawing/2014/main" id="{CEFAD9A6-B10D-0B5C-9FD8-E7E0F3E44ED5}"/>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8" name="Freeform 22">
                <a:extLst>
                  <a:ext uri="{FF2B5EF4-FFF2-40B4-BE49-F238E27FC236}">
                    <a16:creationId xmlns:a16="http://schemas.microsoft.com/office/drawing/2014/main" id="{0E53B2AA-4B2A-2BDB-E41C-72AEB435A86C}"/>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9" name="Freeform 23">
                <a:extLst>
                  <a:ext uri="{FF2B5EF4-FFF2-40B4-BE49-F238E27FC236}">
                    <a16:creationId xmlns:a16="http://schemas.microsoft.com/office/drawing/2014/main" id="{A8E8F08C-6227-7586-0AAA-863EA97409AD}"/>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0" name="Freeform 24">
                <a:extLst>
                  <a:ext uri="{FF2B5EF4-FFF2-40B4-BE49-F238E27FC236}">
                    <a16:creationId xmlns:a16="http://schemas.microsoft.com/office/drawing/2014/main" id="{5702B745-D42F-3BAA-BB4E-CE3B694FABB1}"/>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1" name="Freeform 25">
                <a:extLst>
                  <a:ext uri="{FF2B5EF4-FFF2-40B4-BE49-F238E27FC236}">
                    <a16:creationId xmlns:a16="http://schemas.microsoft.com/office/drawing/2014/main" id="{2B2BCD16-A26F-DAF8-7BA5-259D9E5A0D66}"/>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2" name="Freeform 26">
                <a:extLst>
                  <a:ext uri="{FF2B5EF4-FFF2-40B4-BE49-F238E27FC236}">
                    <a16:creationId xmlns:a16="http://schemas.microsoft.com/office/drawing/2014/main" id="{F0B91B54-B01A-4385-79EB-E98C411A56BE}"/>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3" name="Freeform 27">
                <a:extLst>
                  <a:ext uri="{FF2B5EF4-FFF2-40B4-BE49-F238E27FC236}">
                    <a16:creationId xmlns:a16="http://schemas.microsoft.com/office/drawing/2014/main" id="{A3D42395-8725-0E1C-A699-83FCF4AB85D0}"/>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4" name="Freeform 28">
                <a:extLst>
                  <a:ext uri="{FF2B5EF4-FFF2-40B4-BE49-F238E27FC236}">
                    <a16:creationId xmlns:a16="http://schemas.microsoft.com/office/drawing/2014/main" id="{DF1DD344-7AFC-77F8-FB69-71AFC9A6A5F6}"/>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5" name="Freeform 29">
                <a:extLst>
                  <a:ext uri="{FF2B5EF4-FFF2-40B4-BE49-F238E27FC236}">
                    <a16:creationId xmlns:a16="http://schemas.microsoft.com/office/drawing/2014/main" id="{DCF673E2-08FF-C8B6-4843-D4FBB8EF267F}"/>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6" name="Freeform 30">
                <a:extLst>
                  <a:ext uri="{FF2B5EF4-FFF2-40B4-BE49-F238E27FC236}">
                    <a16:creationId xmlns:a16="http://schemas.microsoft.com/office/drawing/2014/main" id="{9D9BC03B-B195-C894-7926-F200435BDCD9}"/>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7" name="Freeform 31">
                <a:extLst>
                  <a:ext uri="{FF2B5EF4-FFF2-40B4-BE49-F238E27FC236}">
                    <a16:creationId xmlns:a16="http://schemas.microsoft.com/office/drawing/2014/main" id="{89A730F9-E0AB-DE01-E66C-6C664980ED72}"/>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8" name="Freeform 32">
                <a:extLst>
                  <a:ext uri="{FF2B5EF4-FFF2-40B4-BE49-F238E27FC236}">
                    <a16:creationId xmlns:a16="http://schemas.microsoft.com/office/drawing/2014/main" id="{6BDE2E30-43FA-3552-9A8B-B2A1ED1CFBB7}"/>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9" name="Freeform 33">
                <a:extLst>
                  <a:ext uri="{FF2B5EF4-FFF2-40B4-BE49-F238E27FC236}">
                    <a16:creationId xmlns:a16="http://schemas.microsoft.com/office/drawing/2014/main" id="{5D3C1B20-72D9-AE40-1648-5F117AD353C2}"/>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0" name="Freeform 34">
                <a:extLst>
                  <a:ext uri="{FF2B5EF4-FFF2-40B4-BE49-F238E27FC236}">
                    <a16:creationId xmlns:a16="http://schemas.microsoft.com/office/drawing/2014/main" id="{5B6B4041-F48E-4F41-9F1C-14EA333A5C2C}"/>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1" name="Freeform 35">
                <a:extLst>
                  <a:ext uri="{FF2B5EF4-FFF2-40B4-BE49-F238E27FC236}">
                    <a16:creationId xmlns:a16="http://schemas.microsoft.com/office/drawing/2014/main" id="{F1C21939-2019-9361-9900-4AD8965275EA}"/>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2" name="Freeform 36">
                <a:extLst>
                  <a:ext uri="{FF2B5EF4-FFF2-40B4-BE49-F238E27FC236}">
                    <a16:creationId xmlns:a16="http://schemas.microsoft.com/office/drawing/2014/main" id="{B49987A9-29E1-26BB-4E79-A8506E5185B4}"/>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3" name="Freeform 37">
                <a:extLst>
                  <a:ext uri="{FF2B5EF4-FFF2-40B4-BE49-F238E27FC236}">
                    <a16:creationId xmlns:a16="http://schemas.microsoft.com/office/drawing/2014/main" id="{8DCA7CAC-3A8D-77CC-37A5-22B0151C2915}"/>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4" name="Freeform 38">
                <a:extLst>
                  <a:ext uri="{FF2B5EF4-FFF2-40B4-BE49-F238E27FC236}">
                    <a16:creationId xmlns:a16="http://schemas.microsoft.com/office/drawing/2014/main" id="{FAD21044-F79A-F859-58DE-E61D16BC3A86}"/>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5" name="Freeform 39">
                <a:extLst>
                  <a:ext uri="{FF2B5EF4-FFF2-40B4-BE49-F238E27FC236}">
                    <a16:creationId xmlns:a16="http://schemas.microsoft.com/office/drawing/2014/main" id="{9A5F13FD-3A25-86D6-D1F6-B746C2E45782}"/>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6" name="Freeform 40">
                <a:extLst>
                  <a:ext uri="{FF2B5EF4-FFF2-40B4-BE49-F238E27FC236}">
                    <a16:creationId xmlns:a16="http://schemas.microsoft.com/office/drawing/2014/main" id="{5F2373C5-BC31-D78F-077B-786A3E6A7CAA}"/>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7" name="Freeform 41">
                <a:extLst>
                  <a:ext uri="{FF2B5EF4-FFF2-40B4-BE49-F238E27FC236}">
                    <a16:creationId xmlns:a16="http://schemas.microsoft.com/office/drawing/2014/main" id="{817A658F-4FAE-1C59-CBE3-164EEF2CE25B}"/>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8" name="Freeform 42">
                <a:extLst>
                  <a:ext uri="{FF2B5EF4-FFF2-40B4-BE49-F238E27FC236}">
                    <a16:creationId xmlns:a16="http://schemas.microsoft.com/office/drawing/2014/main" id="{CFD64BC8-D874-2AF0-5A3C-AE4C79EBE582}"/>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9" name="Freeform 43">
                <a:extLst>
                  <a:ext uri="{FF2B5EF4-FFF2-40B4-BE49-F238E27FC236}">
                    <a16:creationId xmlns:a16="http://schemas.microsoft.com/office/drawing/2014/main" id="{EFE9A641-0521-BB7D-F359-E0EEEF81269F}"/>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0" name="Freeform 44">
                <a:extLst>
                  <a:ext uri="{FF2B5EF4-FFF2-40B4-BE49-F238E27FC236}">
                    <a16:creationId xmlns:a16="http://schemas.microsoft.com/office/drawing/2014/main" id="{3A63A6AF-7CC8-E99C-7CE3-880F73ABE214}"/>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1" name="Freeform 45">
                <a:extLst>
                  <a:ext uri="{FF2B5EF4-FFF2-40B4-BE49-F238E27FC236}">
                    <a16:creationId xmlns:a16="http://schemas.microsoft.com/office/drawing/2014/main" id="{79FF58DE-96F7-F723-B14E-8B45CEF4EBDC}"/>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2" name="Freeform 46">
                <a:extLst>
                  <a:ext uri="{FF2B5EF4-FFF2-40B4-BE49-F238E27FC236}">
                    <a16:creationId xmlns:a16="http://schemas.microsoft.com/office/drawing/2014/main" id="{A1B07E12-18C2-9939-18B0-B48574AEBC48}"/>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3" name="Freeform 47">
                <a:extLst>
                  <a:ext uri="{FF2B5EF4-FFF2-40B4-BE49-F238E27FC236}">
                    <a16:creationId xmlns:a16="http://schemas.microsoft.com/office/drawing/2014/main" id="{8CA4E7CA-834C-184B-F6D0-32F481F43640}"/>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4" name="Freeform 48">
                <a:extLst>
                  <a:ext uri="{FF2B5EF4-FFF2-40B4-BE49-F238E27FC236}">
                    <a16:creationId xmlns:a16="http://schemas.microsoft.com/office/drawing/2014/main" id="{91D8AC6D-4307-47F4-DDD1-3CAA73B24DA8}"/>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5" name="Freeform 49">
                <a:extLst>
                  <a:ext uri="{FF2B5EF4-FFF2-40B4-BE49-F238E27FC236}">
                    <a16:creationId xmlns:a16="http://schemas.microsoft.com/office/drawing/2014/main" id="{B9E8D45B-9706-9D51-5BB2-2D7965165BE3}"/>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6" name="Freeform 50">
                <a:extLst>
                  <a:ext uri="{FF2B5EF4-FFF2-40B4-BE49-F238E27FC236}">
                    <a16:creationId xmlns:a16="http://schemas.microsoft.com/office/drawing/2014/main" id="{2AA02AFF-210C-5800-9EBF-3277AC691731}"/>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7" name="Freeform 51">
                <a:extLst>
                  <a:ext uri="{FF2B5EF4-FFF2-40B4-BE49-F238E27FC236}">
                    <a16:creationId xmlns:a16="http://schemas.microsoft.com/office/drawing/2014/main" id="{C1DAA05F-35E2-16DB-B507-5FC5880AB370}"/>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8" name="Freeform 52">
                <a:extLst>
                  <a:ext uri="{FF2B5EF4-FFF2-40B4-BE49-F238E27FC236}">
                    <a16:creationId xmlns:a16="http://schemas.microsoft.com/office/drawing/2014/main" id="{48A3C83A-7B8F-37D4-6771-6619E81E016A}"/>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9" name="Freeform 53">
                <a:extLst>
                  <a:ext uri="{FF2B5EF4-FFF2-40B4-BE49-F238E27FC236}">
                    <a16:creationId xmlns:a16="http://schemas.microsoft.com/office/drawing/2014/main" id="{F217DA3B-3FFA-F5FA-B14C-07F7B6DFE6D6}"/>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0" name="Freeform 54">
                <a:extLst>
                  <a:ext uri="{FF2B5EF4-FFF2-40B4-BE49-F238E27FC236}">
                    <a16:creationId xmlns:a16="http://schemas.microsoft.com/office/drawing/2014/main" id="{EA4690F5-96A7-821F-B997-53D1B1C45710}"/>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1" name="Freeform 55">
                <a:extLst>
                  <a:ext uri="{FF2B5EF4-FFF2-40B4-BE49-F238E27FC236}">
                    <a16:creationId xmlns:a16="http://schemas.microsoft.com/office/drawing/2014/main" id="{35FD272F-F219-0BDA-6193-2C1AFA108317}"/>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2" name="Freeform 56">
                <a:extLst>
                  <a:ext uri="{FF2B5EF4-FFF2-40B4-BE49-F238E27FC236}">
                    <a16:creationId xmlns:a16="http://schemas.microsoft.com/office/drawing/2014/main" id="{E71EB156-ED64-AAAB-E57E-CA66F10FA0AD}"/>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3" name="Freeform 57">
                <a:extLst>
                  <a:ext uri="{FF2B5EF4-FFF2-40B4-BE49-F238E27FC236}">
                    <a16:creationId xmlns:a16="http://schemas.microsoft.com/office/drawing/2014/main" id="{C1D0EE2C-3999-35AB-EC16-17C8F53ACB53}"/>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4" name="Freeform 58">
                <a:extLst>
                  <a:ext uri="{FF2B5EF4-FFF2-40B4-BE49-F238E27FC236}">
                    <a16:creationId xmlns:a16="http://schemas.microsoft.com/office/drawing/2014/main" id="{C171CA18-7AD0-9BE7-4109-1A102D80890E}"/>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5" name="Freeform 59">
                <a:extLst>
                  <a:ext uri="{FF2B5EF4-FFF2-40B4-BE49-F238E27FC236}">
                    <a16:creationId xmlns:a16="http://schemas.microsoft.com/office/drawing/2014/main" id="{42ACAA65-62DD-534F-4931-71A2C075EC29}"/>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6" name="Freeform 60">
                <a:extLst>
                  <a:ext uri="{FF2B5EF4-FFF2-40B4-BE49-F238E27FC236}">
                    <a16:creationId xmlns:a16="http://schemas.microsoft.com/office/drawing/2014/main" id="{11742D0D-C9F3-1877-F1DE-BBFB91B7CD4C}"/>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7" name="Freeform 61">
                <a:extLst>
                  <a:ext uri="{FF2B5EF4-FFF2-40B4-BE49-F238E27FC236}">
                    <a16:creationId xmlns:a16="http://schemas.microsoft.com/office/drawing/2014/main" id="{0CF85C66-E8CA-62E4-128F-49E243AECD36}"/>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8" name="Freeform 62">
                <a:extLst>
                  <a:ext uri="{FF2B5EF4-FFF2-40B4-BE49-F238E27FC236}">
                    <a16:creationId xmlns:a16="http://schemas.microsoft.com/office/drawing/2014/main" id="{F0153857-8C2F-1AFB-1CF1-445B4DC2CD0B}"/>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9" name="Freeform 63">
                <a:extLst>
                  <a:ext uri="{FF2B5EF4-FFF2-40B4-BE49-F238E27FC236}">
                    <a16:creationId xmlns:a16="http://schemas.microsoft.com/office/drawing/2014/main" id="{B91FBB3F-87E1-2F2E-689D-979FE50BAB7D}"/>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0" name="Freeform 64">
                <a:extLst>
                  <a:ext uri="{FF2B5EF4-FFF2-40B4-BE49-F238E27FC236}">
                    <a16:creationId xmlns:a16="http://schemas.microsoft.com/office/drawing/2014/main" id="{D60A0136-8377-B8BB-D24A-DC6511410FA3}"/>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1" name="Freeform 65">
                <a:extLst>
                  <a:ext uri="{FF2B5EF4-FFF2-40B4-BE49-F238E27FC236}">
                    <a16:creationId xmlns:a16="http://schemas.microsoft.com/office/drawing/2014/main" id="{C23DCA99-4AF6-4C96-F63D-176B1F20DB90}"/>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2" name="Freeform 66">
                <a:extLst>
                  <a:ext uri="{FF2B5EF4-FFF2-40B4-BE49-F238E27FC236}">
                    <a16:creationId xmlns:a16="http://schemas.microsoft.com/office/drawing/2014/main" id="{F6C06D29-EBB7-E6BF-A120-4BEB812E026B}"/>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3" name="Freeform 67">
                <a:extLst>
                  <a:ext uri="{FF2B5EF4-FFF2-40B4-BE49-F238E27FC236}">
                    <a16:creationId xmlns:a16="http://schemas.microsoft.com/office/drawing/2014/main" id="{4157925E-A4FC-34B7-C221-3669234CA7A8}"/>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4" name="Freeform 68">
                <a:extLst>
                  <a:ext uri="{FF2B5EF4-FFF2-40B4-BE49-F238E27FC236}">
                    <a16:creationId xmlns:a16="http://schemas.microsoft.com/office/drawing/2014/main" id="{CFFB746D-0DA4-EC2B-17EE-7387F60E2BE3}"/>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5" name="Freeform 69">
                <a:extLst>
                  <a:ext uri="{FF2B5EF4-FFF2-40B4-BE49-F238E27FC236}">
                    <a16:creationId xmlns:a16="http://schemas.microsoft.com/office/drawing/2014/main" id="{82D8ADD0-5037-2FB5-4666-A4CA13C197DA}"/>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6" name="Freeform 70">
                <a:extLst>
                  <a:ext uri="{FF2B5EF4-FFF2-40B4-BE49-F238E27FC236}">
                    <a16:creationId xmlns:a16="http://schemas.microsoft.com/office/drawing/2014/main" id="{4EEAC254-ACB2-BC63-097E-2728E98CA771}"/>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7" name="Freeform 71">
                <a:extLst>
                  <a:ext uri="{FF2B5EF4-FFF2-40B4-BE49-F238E27FC236}">
                    <a16:creationId xmlns:a16="http://schemas.microsoft.com/office/drawing/2014/main" id="{A3894DF9-511C-8151-DCB8-20B6A3D5BAF7}"/>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8" name="Freeform 72">
                <a:extLst>
                  <a:ext uri="{FF2B5EF4-FFF2-40B4-BE49-F238E27FC236}">
                    <a16:creationId xmlns:a16="http://schemas.microsoft.com/office/drawing/2014/main" id="{1F661D1A-6339-5248-53E1-E2CD190C8C4C}"/>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9" name="Freeform 73">
                <a:extLst>
                  <a:ext uri="{FF2B5EF4-FFF2-40B4-BE49-F238E27FC236}">
                    <a16:creationId xmlns:a16="http://schemas.microsoft.com/office/drawing/2014/main" id="{F84AE59C-68B6-3C2D-552B-A8D2003E1D42}"/>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0" name="Freeform 74">
                <a:extLst>
                  <a:ext uri="{FF2B5EF4-FFF2-40B4-BE49-F238E27FC236}">
                    <a16:creationId xmlns:a16="http://schemas.microsoft.com/office/drawing/2014/main" id="{406BD105-9CF5-6D5F-168F-61283191ACB0}"/>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1" name="Freeform 75">
                <a:extLst>
                  <a:ext uri="{FF2B5EF4-FFF2-40B4-BE49-F238E27FC236}">
                    <a16:creationId xmlns:a16="http://schemas.microsoft.com/office/drawing/2014/main" id="{ADEFE006-451A-B2B3-56C6-702CBB1A026A}"/>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2" name="Freeform 76">
                <a:extLst>
                  <a:ext uri="{FF2B5EF4-FFF2-40B4-BE49-F238E27FC236}">
                    <a16:creationId xmlns:a16="http://schemas.microsoft.com/office/drawing/2014/main" id="{D3DFDF8F-81CA-3349-3C61-A611AE0C2BE1}"/>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3" name="Freeform 77">
                <a:extLst>
                  <a:ext uri="{FF2B5EF4-FFF2-40B4-BE49-F238E27FC236}">
                    <a16:creationId xmlns:a16="http://schemas.microsoft.com/office/drawing/2014/main" id="{D6C1979E-3CA6-7FB0-72D1-95BF338F0D01}"/>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4" name="Freeform 78">
                <a:extLst>
                  <a:ext uri="{FF2B5EF4-FFF2-40B4-BE49-F238E27FC236}">
                    <a16:creationId xmlns:a16="http://schemas.microsoft.com/office/drawing/2014/main" id="{73E19A88-8522-E6B1-6D9B-33D5E3131A67}"/>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5" name="Freeform 79">
                <a:extLst>
                  <a:ext uri="{FF2B5EF4-FFF2-40B4-BE49-F238E27FC236}">
                    <a16:creationId xmlns:a16="http://schemas.microsoft.com/office/drawing/2014/main" id="{30086708-1E8B-45A8-F279-507D62BBEC83}"/>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6" name="Freeform 80">
                <a:extLst>
                  <a:ext uri="{FF2B5EF4-FFF2-40B4-BE49-F238E27FC236}">
                    <a16:creationId xmlns:a16="http://schemas.microsoft.com/office/drawing/2014/main" id="{AC74E305-31FF-27F8-0F7B-87FD99F4B63C}"/>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7" name="Freeform 81">
                <a:extLst>
                  <a:ext uri="{FF2B5EF4-FFF2-40B4-BE49-F238E27FC236}">
                    <a16:creationId xmlns:a16="http://schemas.microsoft.com/office/drawing/2014/main" id="{C6527F6F-5516-74B3-3989-FC4EF334F0E7}"/>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8" name="Freeform 82">
                <a:extLst>
                  <a:ext uri="{FF2B5EF4-FFF2-40B4-BE49-F238E27FC236}">
                    <a16:creationId xmlns:a16="http://schemas.microsoft.com/office/drawing/2014/main" id="{294DA8E3-5234-84BD-F1C3-C2CF994F9DD8}"/>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9" name="Freeform 83">
                <a:extLst>
                  <a:ext uri="{FF2B5EF4-FFF2-40B4-BE49-F238E27FC236}">
                    <a16:creationId xmlns:a16="http://schemas.microsoft.com/office/drawing/2014/main" id="{D829C099-462F-7445-0931-131E9D5A935A}"/>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0" name="Freeform 84">
                <a:extLst>
                  <a:ext uri="{FF2B5EF4-FFF2-40B4-BE49-F238E27FC236}">
                    <a16:creationId xmlns:a16="http://schemas.microsoft.com/office/drawing/2014/main" id="{4DD6C825-1AF7-417E-AFE8-FCDD7E887282}"/>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1" name="Freeform 85">
                <a:extLst>
                  <a:ext uri="{FF2B5EF4-FFF2-40B4-BE49-F238E27FC236}">
                    <a16:creationId xmlns:a16="http://schemas.microsoft.com/office/drawing/2014/main" id="{9FB480BD-30EE-EFAD-7A19-1C3477EF341D}"/>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2" name="Freeform 86">
                <a:extLst>
                  <a:ext uri="{FF2B5EF4-FFF2-40B4-BE49-F238E27FC236}">
                    <a16:creationId xmlns:a16="http://schemas.microsoft.com/office/drawing/2014/main" id="{F9634EDD-9816-2679-C73A-DE696D5ABF59}"/>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3" name="Freeform 87">
                <a:extLst>
                  <a:ext uri="{FF2B5EF4-FFF2-40B4-BE49-F238E27FC236}">
                    <a16:creationId xmlns:a16="http://schemas.microsoft.com/office/drawing/2014/main" id="{26E4D146-AF2E-94DF-A656-96A058EBA5C4}"/>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4" name="Freeform 88">
                <a:extLst>
                  <a:ext uri="{FF2B5EF4-FFF2-40B4-BE49-F238E27FC236}">
                    <a16:creationId xmlns:a16="http://schemas.microsoft.com/office/drawing/2014/main" id="{B3280514-D2BA-43E2-22B0-356DB6F76316}"/>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5" name="Freeform 89">
                <a:extLst>
                  <a:ext uri="{FF2B5EF4-FFF2-40B4-BE49-F238E27FC236}">
                    <a16:creationId xmlns:a16="http://schemas.microsoft.com/office/drawing/2014/main" id="{DDD0663C-F3EB-A603-87F9-EAA8D64B6365}"/>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6" name="Freeform 90">
                <a:extLst>
                  <a:ext uri="{FF2B5EF4-FFF2-40B4-BE49-F238E27FC236}">
                    <a16:creationId xmlns:a16="http://schemas.microsoft.com/office/drawing/2014/main" id="{F11C15CE-4624-F7A9-858F-73C4A77A75F4}"/>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7" name="Freeform 91">
                <a:extLst>
                  <a:ext uri="{FF2B5EF4-FFF2-40B4-BE49-F238E27FC236}">
                    <a16:creationId xmlns:a16="http://schemas.microsoft.com/office/drawing/2014/main" id="{59616372-99F0-71AA-0FE2-9D9010F5E5EC}"/>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8" name="Freeform 92">
                <a:extLst>
                  <a:ext uri="{FF2B5EF4-FFF2-40B4-BE49-F238E27FC236}">
                    <a16:creationId xmlns:a16="http://schemas.microsoft.com/office/drawing/2014/main" id="{E19F1FD2-A4CA-0C59-6C58-95A6208178BE}"/>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9" name="Freeform 93">
                <a:extLst>
                  <a:ext uri="{FF2B5EF4-FFF2-40B4-BE49-F238E27FC236}">
                    <a16:creationId xmlns:a16="http://schemas.microsoft.com/office/drawing/2014/main" id="{A13565C0-1F7B-D3A5-F012-C97978932B22}"/>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0" name="Freeform 94">
                <a:extLst>
                  <a:ext uri="{FF2B5EF4-FFF2-40B4-BE49-F238E27FC236}">
                    <a16:creationId xmlns:a16="http://schemas.microsoft.com/office/drawing/2014/main" id="{454C0D06-0403-C604-7EFE-B7E56E9C1FF2}"/>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1" name="Freeform 95">
                <a:extLst>
                  <a:ext uri="{FF2B5EF4-FFF2-40B4-BE49-F238E27FC236}">
                    <a16:creationId xmlns:a16="http://schemas.microsoft.com/office/drawing/2014/main" id="{2B75F0AD-522B-D58C-318A-A3A3A8507116}"/>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2" name="Freeform 96">
                <a:extLst>
                  <a:ext uri="{FF2B5EF4-FFF2-40B4-BE49-F238E27FC236}">
                    <a16:creationId xmlns:a16="http://schemas.microsoft.com/office/drawing/2014/main" id="{2EFCE7AE-DFB4-E131-C3BD-0FB414ED982C}"/>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3" name="Freeform 97">
                <a:extLst>
                  <a:ext uri="{FF2B5EF4-FFF2-40B4-BE49-F238E27FC236}">
                    <a16:creationId xmlns:a16="http://schemas.microsoft.com/office/drawing/2014/main" id="{909E7CC1-DF75-D51E-ADCD-A80868C9D292}"/>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4" name="Freeform 98">
                <a:extLst>
                  <a:ext uri="{FF2B5EF4-FFF2-40B4-BE49-F238E27FC236}">
                    <a16:creationId xmlns:a16="http://schemas.microsoft.com/office/drawing/2014/main" id="{9FF52A92-152C-0305-239D-5F1E82FDBB79}"/>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5" name="Freeform 99">
                <a:extLst>
                  <a:ext uri="{FF2B5EF4-FFF2-40B4-BE49-F238E27FC236}">
                    <a16:creationId xmlns:a16="http://schemas.microsoft.com/office/drawing/2014/main" id="{D20C15F0-79CE-7704-3748-B5D301C3CA8A}"/>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6" name="Freeform 100">
                <a:extLst>
                  <a:ext uri="{FF2B5EF4-FFF2-40B4-BE49-F238E27FC236}">
                    <a16:creationId xmlns:a16="http://schemas.microsoft.com/office/drawing/2014/main" id="{8810242F-BC4C-8D97-CA86-015F5DA804ED}"/>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7" name="Freeform 101">
                <a:extLst>
                  <a:ext uri="{FF2B5EF4-FFF2-40B4-BE49-F238E27FC236}">
                    <a16:creationId xmlns:a16="http://schemas.microsoft.com/office/drawing/2014/main" id="{52978D6A-1238-269C-4DD7-2829CA4FBDB8}"/>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8" name="Freeform 102">
                <a:extLst>
                  <a:ext uri="{FF2B5EF4-FFF2-40B4-BE49-F238E27FC236}">
                    <a16:creationId xmlns:a16="http://schemas.microsoft.com/office/drawing/2014/main" id="{4631C28A-E82C-F92A-12AD-53CA81DEE0D1}"/>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9" name="Freeform 103">
                <a:extLst>
                  <a:ext uri="{FF2B5EF4-FFF2-40B4-BE49-F238E27FC236}">
                    <a16:creationId xmlns:a16="http://schemas.microsoft.com/office/drawing/2014/main" id="{81228552-8C78-75D8-953C-C290BD2F79E4}"/>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0" name="Freeform 104">
                <a:extLst>
                  <a:ext uri="{FF2B5EF4-FFF2-40B4-BE49-F238E27FC236}">
                    <a16:creationId xmlns:a16="http://schemas.microsoft.com/office/drawing/2014/main" id="{118821B9-10B8-FE0E-0A1F-75804A66E418}"/>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1" name="Freeform 105">
                <a:extLst>
                  <a:ext uri="{FF2B5EF4-FFF2-40B4-BE49-F238E27FC236}">
                    <a16:creationId xmlns:a16="http://schemas.microsoft.com/office/drawing/2014/main" id="{8E8B25BE-993B-F33D-4C1B-FA7C3C9EDC37}"/>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2" name="Freeform 106">
                <a:extLst>
                  <a:ext uri="{FF2B5EF4-FFF2-40B4-BE49-F238E27FC236}">
                    <a16:creationId xmlns:a16="http://schemas.microsoft.com/office/drawing/2014/main" id="{C8B8AA43-6EAF-8116-F0CE-D69ABDA825E9}"/>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3" name="Freeform 107">
                <a:extLst>
                  <a:ext uri="{FF2B5EF4-FFF2-40B4-BE49-F238E27FC236}">
                    <a16:creationId xmlns:a16="http://schemas.microsoft.com/office/drawing/2014/main" id="{0E748E3A-1F77-C75C-5EFB-78C22E3C03EE}"/>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4" name="Freeform 108">
                <a:extLst>
                  <a:ext uri="{FF2B5EF4-FFF2-40B4-BE49-F238E27FC236}">
                    <a16:creationId xmlns:a16="http://schemas.microsoft.com/office/drawing/2014/main" id="{CA5AB584-72BA-E1C4-53B3-2D4D89C69103}"/>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5" name="Freeform 109">
                <a:extLst>
                  <a:ext uri="{FF2B5EF4-FFF2-40B4-BE49-F238E27FC236}">
                    <a16:creationId xmlns:a16="http://schemas.microsoft.com/office/drawing/2014/main" id="{DD1828A8-6E86-2981-2631-D73B1B52B253}"/>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6" name="Freeform 110">
                <a:extLst>
                  <a:ext uri="{FF2B5EF4-FFF2-40B4-BE49-F238E27FC236}">
                    <a16:creationId xmlns:a16="http://schemas.microsoft.com/office/drawing/2014/main" id="{43974496-26E8-AF8F-368C-4BF9A58E9B64}"/>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7" name="Freeform 111">
                <a:extLst>
                  <a:ext uri="{FF2B5EF4-FFF2-40B4-BE49-F238E27FC236}">
                    <a16:creationId xmlns:a16="http://schemas.microsoft.com/office/drawing/2014/main" id="{844E5BB2-E763-658B-E55C-0F8BF7126048}"/>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8" name="Freeform 112">
                <a:extLst>
                  <a:ext uri="{FF2B5EF4-FFF2-40B4-BE49-F238E27FC236}">
                    <a16:creationId xmlns:a16="http://schemas.microsoft.com/office/drawing/2014/main" id="{CB029369-A6EA-FD46-DE30-F47463F1CC4B}"/>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9" name="Freeform 113">
                <a:extLst>
                  <a:ext uri="{FF2B5EF4-FFF2-40B4-BE49-F238E27FC236}">
                    <a16:creationId xmlns:a16="http://schemas.microsoft.com/office/drawing/2014/main" id="{31112CC5-9339-9DC6-AF38-58FD4512EFEB}"/>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0" name="Freeform 114">
                <a:extLst>
                  <a:ext uri="{FF2B5EF4-FFF2-40B4-BE49-F238E27FC236}">
                    <a16:creationId xmlns:a16="http://schemas.microsoft.com/office/drawing/2014/main" id="{9ACD5745-6C8C-43B1-A870-DA0C99BB8F69}"/>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1" name="Freeform 115">
                <a:extLst>
                  <a:ext uri="{FF2B5EF4-FFF2-40B4-BE49-F238E27FC236}">
                    <a16:creationId xmlns:a16="http://schemas.microsoft.com/office/drawing/2014/main" id="{0209BED4-CB03-98D5-8041-7057E6A4AD98}"/>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2" name="Freeform 116">
                <a:extLst>
                  <a:ext uri="{FF2B5EF4-FFF2-40B4-BE49-F238E27FC236}">
                    <a16:creationId xmlns:a16="http://schemas.microsoft.com/office/drawing/2014/main" id="{0B6F7CAB-6A7B-02DC-CE0D-11E576B0E7DC}"/>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3" name="Freeform 117">
                <a:extLst>
                  <a:ext uri="{FF2B5EF4-FFF2-40B4-BE49-F238E27FC236}">
                    <a16:creationId xmlns:a16="http://schemas.microsoft.com/office/drawing/2014/main" id="{D7047DD5-0343-AC73-A60D-4A5C5CA2A663}"/>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4" name="Freeform 118">
                <a:extLst>
                  <a:ext uri="{FF2B5EF4-FFF2-40B4-BE49-F238E27FC236}">
                    <a16:creationId xmlns:a16="http://schemas.microsoft.com/office/drawing/2014/main" id="{491AFBF3-9C20-1ED0-78D0-20D3DEAFD2F2}"/>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5" name="Freeform 119">
                <a:extLst>
                  <a:ext uri="{FF2B5EF4-FFF2-40B4-BE49-F238E27FC236}">
                    <a16:creationId xmlns:a16="http://schemas.microsoft.com/office/drawing/2014/main" id="{A298C5DA-6610-B4ED-ACBF-0F0CC4D094B8}"/>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6" name="Freeform 120">
                <a:extLst>
                  <a:ext uri="{FF2B5EF4-FFF2-40B4-BE49-F238E27FC236}">
                    <a16:creationId xmlns:a16="http://schemas.microsoft.com/office/drawing/2014/main" id="{EA652E2B-D8FD-C1E7-FBC5-76D410D7F809}"/>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7" name="Freeform 121">
                <a:extLst>
                  <a:ext uri="{FF2B5EF4-FFF2-40B4-BE49-F238E27FC236}">
                    <a16:creationId xmlns:a16="http://schemas.microsoft.com/office/drawing/2014/main" id="{9951721E-73FB-E5AB-CF32-80C063CAC7F7}"/>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8" name="Freeform 122">
                <a:extLst>
                  <a:ext uri="{FF2B5EF4-FFF2-40B4-BE49-F238E27FC236}">
                    <a16:creationId xmlns:a16="http://schemas.microsoft.com/office/drawing/2014/main" id="{BE30E825-A5B9-517B-5A5A-EDBB02CD5EAC}"/>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9" name="Freeform 123">
                <a:extLst>
                  <a:ext uri="{FF2B5EF4-FFF2-40B4-BE49-F238E27FC236}">
                    <a16:creationId xmlns:a16="http://schemas.microsoft.com/office/drawing/2014/main" id="{0BF2BE00-297E-EE17-DE53-F7E9C7F21BD7}"/>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0" name="Freeform 124">
                <a:extLst>
                  <a:ext uri="{FF2B5EF4-FFF2-40B4-BE49-F238E27FC236}">
                    <a16:creationId xmlns:a16="http://schemas.microsoft.com/office/drawing/2014/main" id="{7DF7341C-B669-04FC-5F3D-25F1EBBB359B}"/>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1" name="Freeform 125">
                <a:extLst>
                  <a:ext uri="{FF2B5EF4-FFF2-40B4-BE49-F238E27FC236}">
                    <a16:creationId xmlns:a16="http://schemas.microsoft.com/office/drawing/2014/main" id="{C17B78DC-F441-AB6D-C2E7-A462D914D2D8}"/>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2" name="Freeform 126">
                <a:extLst>
                  <a:ext uri="{FF2B5EF4-FFF2-40B4-BE49-F238E27FC236}">
                    <a16:creationId xmlns:a16="http://schemas.microsoft.com/office/drawing/2014/main" id="{3CAE9D0D-EF11-1B27-1E18-0EE03B5C4D0C}"/>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3" name="Freeform 127">
                <a:extLst>
                  <a:ext uri="{FF2B5EF4-FFF2-40B4-BE49-F238E27FC236}">
                    <a16:creationId xmlns:a16="http://schemas.microsoft.com/office/drawing/2014/main" id="{C85BA76C-01CC-7AE0-325D-CC560B3F8CAA}"/>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4" name="Freeform 128">
                <a:extLst>
                  <a:ext uri="{FF2B5EF4-FFF2-40B4-BE49-F238E27FC236}">
                    <a16:creationId xmlns:a16="http://schemas.microsoft.com/office/drawing/2014/main" id="{59438CA5-4026-2581-AAE6-373AF7FC97F7}"/>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5" name="Freeform 129">
                <a:extLst>
                  <a:ext uri="{FF2B5EF4-FFF2-40B4-BE49-F238E27FC236}">
                    <a16:creationId xmlns:a16="http://schemas.microsoft.com/office/drawing/2014/main" id="{17D4FC28-485D-F32E-C040-7BDB64DE9401}"/>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6" name="Freeform 130">
                <a:extLst>
                  <a:ext uri="{FF2B5EF4-FFF2-40B4-BE49-F238E27FC236}">
                    <a16:creationId xmlns:a16="http://schemas.microsoft.com/office/drawing/2014/main" id="{579D9B43-BB65-E39F-D2D0-8BFC90FC9811}"/>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7" name="Freeform 131">
                <a:extLst>
                  <a:ext uri="{FF2B5EF4-FFF2-40B4-BE49-F238E27FC236}">
                    <a16:creationId xmlns:a16="http://schemas.microsoft.com/office/drawing/2014/main" id="{00061E27-0EDA-1800-2593-98DAF1688A96}"/>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8" name="Freeform 132">
                <a:extLst>
                  <a:ext uri="{FF2B5EF4-FFF2-40B4-BE49-F238E27FC236}">
                    <a16:creationId xmlns:a16="http://schemas.microsoft.com/office/drawing/2014/main" id="{C6B346C1-29E3-7220-547C-13A8A7B8AAAA}"/>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9" name="Freeform 133">
                <a:extLst>
                  <a:ext uri="{FF2B5EF4-FFF2-40B4-BE49-F238E27FC236}">
                    <a16:creationId xmlns:a16="http://schemas.microsoft.com/office/drawing/2014/main" id="{E74E1D8F-BA0E-86D3-08CE-0F51A3412952}"/>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0" name="Freeform 134">
                <a:extLst>
                  <a:ext uri="{FF2B5EF4-FFF2-40B4-BE49-F238E27FC236}">
                    <a16:creationId xmlns:a16="http://schemas.microsoft.com/office/drawing/2014/main" id="{A2FCB2BD-6D41-3068-64EB-4ACBB5CE02B9}"/>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1" name="Freeform 135">
                <a:extLst>
                  <a:ext uri="{FF2B5EF4-FFF2-40B4-BE49-F238E27FC236}">
                    <a16:creationId xmlns:a16="http://schemas.microsoft.com/office/drawing/2014/main" id="{10075D76-242C-6273-2D93-D5BC5B2E4C0B}"/>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2" name="Freeform 136">
                <a:extLst>
                  <a:ext uri="{FF2B5EF4-FFF2-40B4-BE49-F238E27FC236}">
                    <a16:creationId xmlns:a16="http://schemas.microsoft.com/office/drawing/2014/main" id="{F35397B2-3FA7-CDBE-EBF6-FD7AB766F250}"/>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3" name="Freeform 137">
                <a:extLst>
                  <a:ext uri="{FF2B5EF4-FFF2-40B4-BE49-F238E27FC236}">
                    <a16:creationId xmlns:a16="http://schemas.microsoft.com/office/drawing/2014/main" id="{503FE04C-8B2B-70EC-D75C-99A659C2D7A3}"/>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4" name="Freeform 138">
                <a:extLst>
                  <a:ext uri="{FF2B5EF4-FFF2-40B4-BE49-F238E27FC236}">
                    <a16:creationId xmlns:a16="http://schemas.microsoft.com/office/drawing/2014/main" id="{ECE7098A-F44B-17D2-C9CC-481DF5CA30E2}"/>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5" name="Freeform 139">
                <a:extLst>
                  <a:ext uri="{FF2B5EF4-FFF2-40B4-BE49-F238E27FC236}">
                    <a16:creationId xmlns:a16="http://schemas.microsoft.com/office/drawing/2014/main" id="{962AF21F-1F58-C7C6-F51A-814128BF6996}"/>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6" name="Freeform 140">
                <a:extLst>
                  <a:ext uri="{FF2B5EF4-FFF2-40B4-BE49-F238E27FC236}">
                    <a16:creationId xmlns:a16="http://schemas.microsoft.com/office/drawing/2014/main" id="{7A86142B-4F0E-8019-96EF-1DA01B371F8B}"/>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7" name="Freeform 141">
                <a:extLst>
                  <a:ext uri="{FF2B5EF4-FFF2-40B4-BE49-F238E27FC236}">
                    <a16:creationId xmlns:a16="http://schemas.microsoft.com/office/drawing/2014/main" id="{CBFB100A-1EB8-818D-E298-714A2EA8FE10}"/>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8" name="Freeform 142">
                <a:extLst>
                  <a:ext uri="{FF2B5EF4-FFF2-40B4-BE49-F238E27FC236}">
                    <a16:creationId xmlns:a16="http://schemas.microsoft.com/office/drawing/2014/main" id="{834CA9D8-9C3E-793B-92EC-78E4249AB4FA}"/>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9" name="Freeform 143">
                <a:extLst>
                  <a:ext uri="{FF2B5EF4-FFF2-40B4-BE49-F238E27FC236}">
                    <a16:creationId xmlns:a16="http://schemas.microsoft.com/office/drawing/2014/main" id="{1FB7F958-4E25-26D0-A487-00655AADA4A9}"/>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0" name="Freeform 144">
                <a:extLst>
                  <a:ext uri="{FF2B5EF4-FFF2-40B4-BE49-F238E27FC236}">
                    <a16:creationId xmlns:a16="http://schemas.microsoft.com/office/drawing/2014/main" id="{98C56145-E349-CFAD-7DFE-2A5856E3C91F}"/>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1" name="Freeform 145">
                <a:extLst>
                  <a:ext uri="{FF2B5EF4-FFF2-40B4-BE49-F238E27FC236}">
                    <a16:creationId xmlns:a16="http://schemas.microsoft.com/office/drawing/2014/main" id="{6FD7F0A9-EE6B-788B-41C5-0C9B578EB054}"/>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2" name="Freeform 146">
                <a:extLst>
                  <a:ext uri="{FF2B5EF4-FFF2-40B4-BE49-F238E27FC236}">
                    <a16:creationId xmlns:a16="http://schemas.microsoft.com/office/drawing/2014/main" id="{0F8FAC89-4FCF-A315-FFFD-F9D9B9136C42}"/>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3" name="Freeform 147">
                <a:extLst>
                  <a:ext uri="{FF2B5EF4-FFF2-40B4-BE49-F238E27FC236}">
                    <a16:creationId xmlns:a16="http://schemas.microsoft.com/office/drawing/2014/main" id="{FE185A0D-A7CD-19AC-A05A-09E6BD5EEC96}"/>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Tree>
    <p:extLst>
      <p:ext uri="{BB962C8B-B14F-4D97-AF65-F5344CB8AC3E}">
        <p14:creationId xmlns:p14="http://schemas.microsoft.com/office/powerpoint/2010/main" val="27641159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86D751-FD46-EE95-8250-CB79BABCC709}"/>
              </a:ext>
            </a:extLst>
          </p:cNvPr>
          <p:cNvSpPr>
            <a:spLocks noGrp="1"/>
          </p:cNvSpPr>
          <p:nvPr>
            <p:ph type="body" sz="quarter" idx="10"/>
          </p:nvPr>
        </p:nvSpPr>
        <p:spPr>
          <a:xfrm>
            <a:off x="427038" y="3428206"/>
            <a:ext cx="11356975" cy="1107996"/>
          </a:xfrm>
        </p:spPr>
        <p:txBody>
          <a:bodyPr/>
          <a:lstStyle/>
          <a:p>
            <a:r>
              <a:rPr lang="nl-NL" dirty="0"/>
              <a:t>OWL vs SHACL?</a:t>
            </a:r>
          </a:p>
        </p:txBody>
      </p:sp>
    </p:spTree>
    <p:extLst>
      <p:ext uri="{BB962C8B-B14F-4D97-AF65-F5344CB8AC3E}">
        <p14:creationId xmlns:p14="http://schemas.microsoft.com/office/powerpoint/2010/main" val="23419561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596744-D331-D5C2-0238-B6A2B937A9AA}"/>
              </a:ext>
            </a:extLst>
          </p:cNvPr>
          <p:cNvSpPr>
            <a:spLocks noGrp="1"/>
          </p:cNvSpPr>
          <p:nvPr>
            <p:ph type="body" sz="quarter" idx="15"/>
          </p:nvPr>
        </p:nvSpPr>
        <p:spPr/>
        <p:txBody>
          <a:bodyPr/>
          <a:lstStyle/>
          <a:p>
            <a:r>
              <a:rPr lang="nl-NL" dirty="0"/>
              <a:t>First: What are your experiences with data modeling?</a:t>
            </a:r>
          </a:p>
        </p:txBody>
      </p:sp>
      <p:sp>
        <p:nvSpPr>
          <p:cNvPr id="3" name="Text Placeholder 2">
            <a:extLst>
              <a:ext uri="{FF2B5EF4-FFF2-40B4-BE49-F238E27FC236}">
                <a16:creationId xmlns:a16="http://schemas.microsoft.com/office/drawing/2014/main" id="{9924AC41-B762-E000-590D-391BEBC0D574}"/>
              </a:ext>
            </a:extLst>
          </p:cNvPr>
          <p:cNvSpPr>
            <a:spLocks noGrp="1"/>
          </p:cNvSpPr>
          <p:nvPr>
            <p:ph type="body" sz="quarter" idx="17"/>
          </p:nvPr>
        </p:nvSpPr>
        <p:spPr>
          <a:xfrm>
            <a:off x="414971" y="1624108"/>
            <a:ext cx="4240869" cy="4829080"/>
          </a:xfrm>
        </p:spPr>
        <p:txBody>
          <a:bodyPr/>
          <a:lstStyle/>
          <a:p>
            <a:pPr marL="285750" indent="-285750">
              <a:buFont typeface="Arial" panose="020B0604020202020204" pitchFamily="34" charset="0"/>
              <a:buChar char="•"/>
            </a:pPr>
            <a:r>
              <a:rPr lang="nl-NL" sz="1800" dirty="0"/>
              <a:t> Conceptual &gt; Logical &gt; Physical?</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Other?</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How do you model relationships?</a:t>
            </a:r>
          </a:p>
          <a:p>
            <a:pPr marL="285750"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3BB24D47-B315-45EB-84AC-8A456A26F8D3}"/>
              </a:ext>
            </a:extLst>
          </p:cNvPr>
          <p:cNvSpPr>
            <a:spLocks noGrp="1"/>
          </p:cNvSpPr>
          <p:nvPr>
            <p:ph type="title"/>
          </p:nvPr>
        </p:nvSpPr>
        <p:spPr/>
        <p:txBody>
          <a:bodyPr/>
          <a:lstStyle/>
          <a:p>
            <a:r>
              <a:rPr lang="nl-NL" dirty="0"/>
              <a:t>Discussion</a:t>
            </a:r>
          </a:p>
        </p:txBody>
      </p:sp>
      <p:pic>
        <p:nvPicPr>
          <p:cNvPr id="6" name="Picture 5">
            <a:extLst>
              <a:ext uri="{FF2B5EF4-FFF2-40B4-BE49-F238E27FC236}">
                <a16:creationId xmlns:a16="http://schemas.microsoft.com/office/drawing/2014/main" id="{75104688-8C00-2B21-A474-D486F6DAD4E3}"/>
              </a:ext>
            </a:extLst>
          </p:cNvPr>
          <p:cNvPicPr>
            <a:picLocks noChangeAspect="1"/>
          </p:cNvPicPr>
          <p:nvPr/>
        </p:nvPicPr>
        <p:blipFill>
          <a:blip r:embed="rId2"/>
          <a:stretch>
            <a:fillRect/>
          </a:stretch>
        </p:blipFill>
        <p:spPr>
          <a:xfrm>
            <a:off x="6390141" y="260350"/>
            <a:ext cx="3672408" cy="3073053"/>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9DC766FE-8D68-C643-2F9A-72D21525F102}"/>
              </a:ext>
            </a:extLst>
          </p:cNvPr>
          <p:cNvPicPr>
            <a:picLocks noChangeAspect="1"/>
          </p:cNvPicPr>
          <p:nvPr/>
        </p:nvPicPr>
        <p:blipFill>
          <a:blip r:embed="rId3"/>
          <a:stretch>
            <a:fillRect/>
          </a:stretch>
        </p:blipFill>
        <p:spPr>
          <a:xfrm>
            <a:off x="4403144" y="3516884"/>
            <a:ext cx="3734976" cy="2215578"/>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7316F8D3-FCAF-1A72-62EF-9CE1039422DE}"/>
              </a:ext>
            </a:extLst>
          </p:cNvPr>
          <p:cNvPicPr>
            <a:picLocks noChangeAspect="1"/>
          </p:cNvPicPr>
          <p:nvPr/>
        </p:nvPicPr>
        <p:blipFill>
          <a:blip r:embed="rId4"/>
          <a:stretch>
            <a:fillRect/>
          </a:stretch>
        </p:blipFill>
        <p:spPr>
          <a:xfrm>
            <a:off x="8400256" y="3717032"/>
            <a:ext cx="3537338" cy="25370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24090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289F94-E2AF-5949-E93F-4C3694E088FC}"/>
              </a:ext>
            </a:extLst>
          </p:cNvPr>
          <p:cNvSpPr>
            <a:spLocks noGrp="1"/>
          </p:cNvSpPr>
          <p:nvPr>
            <p:ph type="body" sz="quarter" idx="15"/>
          </p:nvPr>
        </p:nvSpPr>
        <p:spPr/>
        <p:txBody>
          <a:bodyPr/>
          <a:lstStyle/>
          <a:p>
            <a:r>
              <a:rPr lang="nl-NL" dirty="0"/>
              <a:t>Web Ontology Language</a:t>
            </a:r>
          </a:p>
        </p:txBody>
      </p:sp>
      <p:sp>
        <p:nvSpPr>
          <p:cNvPr id="3" name="Text Placeholder 2">
            <a:extLst>
              <a:ext uri="{FF2B5EF4-FFF2-40B4-BE49-F238E27FC236}">
                <a16:creationId xmlns:a16="http://schemas.microsoft.com/office/drawing/2014/main" id="{AE070DA5-5967-449E-683C-DC9C77F9218E}"/>
              </a:ext>
            </a:extLst>
          </p:cNvPr>
          <p:cNvSpPr>
            <a:spLocks noGrp="1"/>
          </p:cNvSpPr>
          <p:nvPr>
            <p:ph type="body" sz="quarter" idx="17"/>
          </p:nvPr>
        </p:nvSpPr>
        <p:spPr>
          <a:xfrm>
            <a:off x="414971" y="1624108"/>
            <a:ext cx="4888941" cy="4829080"/>
          </a:xfrm>
        </p:spPr>
        <p:txBody>
          <a:bodyPr/>
          <a:lstStyle/>
          <a:p>
            <a:pPr marL="285750" indent="-285750">
              <a:buFont typeface="Arial" panose="020B0604020202020204" pitchFamily="34" charset="0"/>
              <a:buChar char="•"/>
            </a:pPr>
            <a:r>
              <a:rPr lang="nl-NL" sz="2000" dirty="0"/>
              <a:t>2012</a:t>
            </a:r>
          </a:p>
          <a:p>
            <a:pPr marL="285750" indent="-285750">
              <a:buFont typeface="Arial" panose="020B0604020202020204" pitchFamily="34" charset="0"/>
              <a:buChar char="•"/>
            </a:pPr>
            <a:r>
              <a:rPr lang="nl-NL" sz="2000" dirty="0"/>
              <a:t>Built on top of RDFS (RDF Schema)</a:t>
            </a:r>
          </a:p>
          <a:p>
            <a:pPr marL="285750" indent="-285750">
              <a:buFont typeface="Arial" panose="020B0604020202020204" pitchFamily="34" charset="0"/>
              <a:buChar char="•"/>
            </a:pPr>
            <a:endParaRPr lang="nl-NL" sz="2000" dirty="0"/>
          </a:p>
          <a:p>
            <a:pPr marL="285750" indent="-285750">
              <a:buFont typeface="Arial" panose="020B0604020202020204" pitchFamily="34" charset="0"/>
              <a:buChar char="•"/>
            </a:pPr>
            <a:r>
              <a:rPr lang="nl-NL" sz="2000" dirty="0"/>
              <a:t>Designed to enable reasoning based on description logic and set theory</a:t>
            </a:r>
          </a:p>
          <a:p>
            <a:pPr marL="285750" indent="-285750">
              <a:buFont typeface="Arial" panose="020B0604020202020204" pitchFamily="34" charset="0"/>
              <a:buChar char="•"/>
            </a:pPr>
            <a:r>
              <a:rPr lang="nl-NL" sz="2000" dirty="0"/>
              <a:t>Open World Assumption</a:t>
            </a:r>
          </a:p>
          <a:p>
            <a:pPr marL="285750" indent="-285750">
              <a:buFont typeface="Arial" panose="020B0604020202020204" pitchFamily="34" charset="0"/>
              <a:buChar char="•"/>
            </a:pPr>
            <a:endParaRPr lang="nl-NL" sz="2000" dirty="0"/>
          </a:p>
          <a:p>
            <a:pPr marL="285750" indent="-285750">
              <a:buFont typeface="Arial" panose="020B0604020202020204" pitchFamily="34" charset="0"/>
              <a:buChar char="•"/>
            </a:pPr>
            <a:endParaRPr lang="nl-NL" sz="2000" dirty="0"/>
          </a:p>
        </p:txBody>
      </p:sp>
      <p:sp>
        <p:nvSpPr>
          <p:cNvPr id="4" name="Title 3">
            <a:extLst>
              <a:ext uri="{FF2B5EF4-FFF2-40B4-BE49-F238E27FC236}">
                <a16:creationId xmlns:a16="http://schemas.microsoft.com/office/drawing/2014/main" id="{9F307C12-5F01-66F0-2DA4-3989356EF512}"/>
              </a:ext>
            </a:extLst>
          </p:cNvPr>
          <p:cNvSpPr>
            <a:spLocks noGrp="1"/>
          </p:cNvSpPr>
          <p:nvPr>
            <p:ph type="title"/>
          </p:nvPr>
        </p:nvSpPr>
        <p:spPr/>
        <p:txBody>
          <a:bodyPr/>
          <a:lstStyle/>
          <a:p>
            <a:r>
              <a:rPr lang="nl-NL" dirty="0"/>
              <a:t>OWL</a:t>
            </a:r>
          </a:p>
        </p:txBody>
      </p:sp>
      <p:pic>
        <p:nvPicPr>
          <p:cNvPr id="6" name="Picture 5">
            <a:extLst>
              <a:ext uri="{FF2B5EF4-FFF2-40B4-BE49-F238E27FC236}">
                <a16:creationId xmlns:a16="http://schemas.microsoft.com/office/drawing/2014/main" id="{C63A8D9B-0FDE-383A-4280-ACA149D250E7}"/>
              </a:ext>
            </a:extLst>
          </p:cNvPr>
          <p:cNvPicPr>
            <a:picLocks noChangeAspect="1"/>
          </p:cNvPicPr>
          <p:nvPr/>
        </p:nvPicPr>
        <p:blipFill>
          <a:blip r:embed="rId2"/>
          <a:stretch>
            <a:fillRect/>
          </a:stretch>
        </p:blipFill>
        <p:spPr>
          <a:xfrm>
            <a:off x="6510971" y="2963086"/>
            <a:ext cx="5681029" cy="3894914"/>
          </a:xfrm>
          <a:prstGeom prst="rect">
            <a:avLst/>
          </a:prstGeom>
        </p:spPr>
      </p:pic>
    </p:spTree>
    <p:extLst>
      <p:ext uri="{BB962C8B-B14F-4D97-AF65-F5344CB8AC3E}">
        <p14:creationId xmlns:p14="http://schemas.microsoft.com/office/powerpoint/2010/main" val="318396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57B6D9-EE0F-9C95-7487-D705FAA9F6F9}"/>
              </a:ext>
            </a:extLst>
          </p:cNvPr>
          <p:cNvSpPr>
            <a:spLocks noGrp="1"/>
          </p:cNvSpPr>
          <p:nvPr>
            <p:ph type="body" sz="quarter" idx="15"/>
          </p:nvPr>
        </p:nvSpPr>
        <p:spPr/>
        <p:txBody>
          <a:bodyPr/>
          <a:lstStyle/>
          <a:p>
            <a:r>
              <a:rPr lang="nl-NL" dirty="0"/>
              <a:t>Let’s look at RDFS first</a:t>
            </a:r>
          </a:p>
        </p:txBody>
      </p:sp>
      <p:sp>
        <p:nvSpPr>
          <p:cNvPr id="3" name="Text Placeholder 2">
            <a:extLst>
              <a:ext uri="{FF2B5EF4-FFF2-40B4-BE49-F238E27FC236}">
                <a16:creationId xmlns:a16="http://schemas.microsoft.com/office/drawing/2014/main" id="{60CE47EF-1919-AEB6-7CC5-5A5CB55A769E}"/>
              </a:ext>
            </a:extLst>
          </p:cNvPr>
          <p:cNvSpPr>
            <a:spLocks noGrp="1"/>
          </p:cNvSpPr>
          <p:nvPr>
            <p:ph type="body" sz="quarter" idx="17"/>
          </p:nvPr>
        </p:nvSpPr>
        <p:spPr>
          <a:xfrm>
            <a:off x="414971" y="1624108"/>
            <a:ext cx="5248981" cy="4829080"/>
          </a:xfrm>
        </p:spPr>
        <p:txBody>
          <a:bodyPr/>
          <a:lstStyle/>
          <a:p>
            <a:pPr marL="285750" indent="-285750">
              <a:buFont typeface="Arial" panose="020B0604020202020204" pitchFamily="34" charset="0"/>
              <a:buChar char="•"/>
            </a:pPr>
            <a:r>
              <a:rPr lang="nl-NL" sz="1800" dirty="0"/>
              <a:t>Sufficient for simple schemas/hierarchies</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Not possible to characterize relationships (symmetrical, transitive, etc.)</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Not possible to specify class disjointness</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sym typeface="Wingdings" panose="05000000000000000000" pitchFamily="2" charset="2"/>
              </a:rPr>
              <a:t>As we will see: more expressivity with OWL</a:t>
            </a:r>
            <a:endParaRPr lang="nl-NL" sz="1800" dirty="0"/>
          </a:p>
        </p:txBody>
      </p:sp>
      <p:sp>
        <p:nvSpPr>
          <p:cNvPr id="4" name="Title 3">
            <a:extLst>
              <a:ext uri="{FF2B5EF4-FFF2-40B4-BE49-F238E27FC236}">
                <a16:creationId xmlns:a16="http://schemas.microsoft.com/office/drawing/2014/main" id="{68831EE3-787D-562E-6C36-8F47A77FF1CB}"/>
              </a:ext>
            </a:extLst>
          </p:cNvPr>
          <p:cNvSpPr>
            <a:spLocks noGrp="1"/>
          </p:cNvSpPr>
          <p:nvPr>
            <p:ph type="title"/>
          </p:nvPr>
        </p:nvSpPr>
        <p:spPr/>
        <p:txBody>
          <a:bodyPr/>
          <a:lstStyle/>
          <a:p>
            <a:r>
              <a:rPr lang="nl-NL" dirty="0"/>
              <a:t>OWL</a:t>
            </a:r>
          </a:p>
        </p:txBody>
      </p:sp>
      <p:pic>
        <p:nvPicPr>
          <p:cNvPr id="2050" name="Picture 2" descr="an introductory example, showing node and arc diagram of instance data mixed with schema vocabulary.">
            <a:extLst>
              <a:ext uri="{FF2B5EF4-FFF2-40B4-BE49-F238E27FC236}">
                <a16:creationId xmlns:a16="http://schemas.microsoft.com/office/drawing/2014/main" id="{3A1FC9DF-337F-0D6F-2CC7-B77B66C989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225" y="1248648"/>
            <a:ext cx="6226804" cy="3587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124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57B6D9-EE0F-9C95-7487-D705FAA9F6F9}"/>
              </a:ext>
            </a:extLst>
          </p:cNvPr>
          <p:cNvSpPr>
            <a:spLocks noGrp="1"/>
          </p:cNvSpPr>
          <p:nvPr>
            <p:ph type="body" sz="quarter" idx="15"/>
          </p:nvPr>
        </p:nvSpPr>
        <p:spPr/>
        <p:txBody>
          <a:bodyPr/>
          <a:lstStyle/>
          <a:p>
            <a:r>
              <a:rPr lang="nl-NL" dirty="0"/>
              <a:t>Set theory and description logics</a:t>
            </a:r>
          </a:p>
        </p:txBody>
      </p:sp>
      <p:sp>
        <p:nvSpPr>
          <p:cNvPr id="3" name="Text Placeholder 2">
            <a:extLst>
              <a:ext uri="{FF2B5EF4-FFF2-40B4-BE49-F238E27FC236}">
                <a16:creationId xmlns:a16="http://schemas.microsoft.com/office/drawing/2014/main" id="{60CE47EF-1919-AEB6-7CC5-5A5CB55A769E}"/>
              </a:ext>
            </a:extLst>
          </p:cNvPr>
          <p:cNvSpPr>
            <a:spLocks noGrp="1"/>
          </p:cNvSpPr>
          <p:nvPr>
            <p:ph type="body" sz="quarter" idx="17"/>
          </p:nvPr>
        </p:nvSpPr>
        <p:spPr>
          <a:xfrm>
            <a:off x="414971" y="1624108"/>
            <a:ext cx="4816933" cy="4829080"/>
          </a:xfrm>
        </p:spPr>
        <p:txBody>
          <a:bodyPr/>
          <a:lstStyle/>
          <a:p>
            <a:pPr marL="285750" indent="-285750">
              <a:buFont typeface="Arial" panose="020B0604020202020204" pitchFamily="34" charset="0"/>
              <a:buChar char="•"/>
            </a:pPr>
            <a:r>
              <a:rPr lang="nl-NL" sz="1800" dirty="0"/>
              <a:t>Set theory: mathematical reasoning over sets</a:t>
            </a:r>
          </a:p>
          <a:p>
            <a:pPr marL="285750" indent="-285750">
              <a:buFont typeface="Arial" panose="020B0604020202020204" pitchFamily="34" charset="0"/>
              <a:buChar char="•"/>
            </a:pPr>
            <a:r>
              <a:rPr lang="nl-NL" sz="1800" dirty="0"/>
              <a:t>Description logics: mathematical reasoning over concepts</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sym typeface="Wingdings" panose="05000000000000000000" pitchFamily="2" charset="2"/>
              </a:rPr>
              <a:t>As we will see: OWL enables</a:t>
            </a:r>
            <a:br>
              <a:rPr lang="nl-NL" sz="1800" dirty="0">
                <a:sym typeface="Wingdings" panose="05000000000000000000" pitchFamily="2" charset="2"/>
              </a:rPr>
            </a:br>
            <a:r>
              <a:rPr lang="nl-NL" sz="1800" dirty="0">
                <a:sym typeface="Wingdings" panose="05000000000000000000" pitchFamily="2" charset="2"/>
              </a:rPr>
              <a:t>logic/mathematical reasoning</a:t>
            </a:r>
            <a:endParaRPr lang="nl-NL" sz="1800" dirty="0"/>
          </a:p>
        </p:txBody>
      </p:sp>
      <p:sp>
        <p:nvSpPr>
          <p:cNvPr id="4" name="Title 3">
            <a:extLst>
              <a:ext uri="{FF2B5EF4-FFF2-40B4-BE49-F238E27FC236}">
                <a16:creationId xmlns:a16="http://schemas.microsoft.com/office/drawing/2014/main" id="{68831EE3-787D-562E-6C36-8F47A77FF1CB}"/>
              </a:ext>
            </a:extLst>
          </p:cNvPr>
          <p:cNvSpPr>
            <a:spLocks noGrp="1"/>
          </p:cNvSpPr>
          <p:nvPr>
            <p:ph type="title"/>
          </p:nvPr>
        </p:nvSpPr>
        <p:spPr/>
        <p:txBody>
          <a:bodyPr/>
          <a:lstStyle/>
          <a:p>
            <a:r>
              <a:rPr lang="nl-NL" dirty="0"/>
              <a:t>OWL</a:t>
            </a:r>
          </a:p>
        </p:txBody>
      </p:sp>
      <p:pic>
        <p:nvPicPr>
          <p:cNvPr id="6" name="Picture 5">
            <a:hlinkClick r:id="rId2"/>
            <a:extLst>
              <a:ext uri="{FF2B5EF4-FFF2-40B4-BE49-F238E27FC236}">
                <a16:creationId xmlns:a16="http://schemas.microsoft.com/office/drawing/2014/main" id="{C6B9DBB0-078A-1FF0-21E3-0807256D0474}"/>
              </a:ext>
            </a:extLst>
          </p:cNvPr>
          <p:cNvPicPr>
            <a:picLocks noChangeAspect="1"/>
          </p:cNvPicPr>
          <p:nvPr/>
        </p:nvPicPr>
        <p:blipFill>
          <a:blip r:embed="rId3"/>
          <a:stretch>
            <a:fillRect/>
          </a:stretch>
        </p:blipFill>
        <p:spPr>
          <a:xfrm>
            <a:off x="5919177" y="260350"/>
            <a:ext cx="3528392" cy="3236058"/>
          </a:xfrm>
          <a:prstGeom prst="rect">
            <a:avLst/>
          </a:prstGeom>
        </p:spPr>
      </p:pic>
      <p:pic>
        <p:nvPicPr>
          <p:cNvPr id="8" name="Picture 7">
            <a:hlinkClick r:id="rId4"/>
            <a:extLst>
              <a:ext uri="{FF2B5EF4-FFF2-40B4-BE49-F238E27FC236}">
                <a16:creationId xmlns:a16="http://schemas.microsoft.com/office/drawing/2014/main" id="{4783A3E7-4120-4ABF-88EC-AAB411C9A61F}"/>
              </a:ext>
            </a:extLst>
          </p:cNvPr>
          <p:cNvPicPr>
            <a:picLocks noChangeAspect="1"/>
          </p:cNvPicPr>
          <p:nvPr/>
        </p:nvPicPr>
        <p:blipFill>
          <a:blip r:embed="rId5"/>
          <a:stretch>
            <a:fillRect/>
          </a:stretch>
        </p:blipFill>
        <p:spPr>
          <a:xfrm>
            <a:off x="7093916" y="3798136"/>
            <a:ext cx="4757714" cy="2542671"/>
          </a:xfrm>
          <a:prstGeom prst="rect">
            <a:avLst/>
          </a:prstGeom>
        </p:spPr>
      </p:pic>
      <p:pic>
        <p:nvPicPr>
          <p:cNvPr id="10" name="Picture 9">
            <a:hlinkClick r:id="rId6"/>
            <a:extLst>
              <a:ext uri="{FF2B5EF4-FFF2-40B4-BE49-F238E27FC236}">
                <a16:creationId xmlns:a16="http://schemas.microsoft.com/office/drawing/2014/main" id="{F217FAA3-63F3-CBAC-DE1E-955ABE8800F7}"/>
              </a:ext>
            </a:extLst>
          </p:cNvPr>
          <p:cNvPicPr>
            <a:picLocks noChangeAspect="1"/>
          </p:cNvPicPr>
          <p:nvPr/>
        </p:nvPicPr>
        <p:blipFill>
          <a:blip r:embed="rId7"/>
          <a:stretch>
            <a:fillRect/>
          </a:stretch>
        </p:blipFill>
        <p:spPr>
          <a:xfrm>
            <a:off x="3863752" y="3751673"/>
            <a:ext cx="3017782" cy="2964437"/>
          </a:xfrm>
          <a:prstGeom prst="rect">
            <a:avLst/>
          </a:prstGeom>
        </p:spPr>
      </p:pic>
    </p:spTree>
    <p:extLst>
      <p:ext uri="{BB962C8B-B14F-4D97-AF65-F5344CB8AC3E}">
        <p14:creationId xmlns:p14="http://schemas.microsoft.com/office/powerpoint/2010/main" val="1804352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57B6D9-EE0F-9C95-7487-D705FAA9F6F9}"/>
              </a:ext>
            </a:extLst>
          </p:cNvPr>
          <p:cNvSpPr>
            <a:spLocks noGrp="1"/>
          </p:cNvSpPr>
          <p:nvPr>
            <p:ph type="body" sz="quarter" idx="15"/>
          </p:nvPr>
        </p:nvSpPr>
        <p:spPr/>
        <p:txBody>
          <a:bodyPr/>
          <a:lstStyle/>
          <a:p>
            <a:r>
              <a:rPr lang="nl-NL" dirty="0"/>
              <a:t>Open World Assumption (vs Closed World Assumption)</a:t>
            </a:r>
          </a:p>
        </p:txBody>
      </p:sp>
      <p:sp>
        <p:nvSpPr>
          <p:cNvPr id="3" name="Text Placeholder 2">
            <a:extLst>
              <a:ext uri="{FF2B5EF4-FFF2-40B4-BE49-F238E27FC236}">
                <a16:creationId xmlns:a16="http://schemas.microsoft.com/office/drawing/2014/main" id="{60CE47EF-1919-AEB6-7CC5-5A5CB55A769E}"/>
              </a:ext>
            </a:extLst>
          </p:cNvPr>
          <p:cNvSpPr>
            <a:spLocks noGrp="1"/>
          </p:cNvSpPr>
          <p:nvPr>
            <p:ph type="body" sz="quarter" idx="17"/>
          </p:nvPr>
        </p:nvSpPr>
        <p:spPr>
          <a:xfrm>
            <a:off x="414971" y="1624108"/>
            <a:ext cx="6185085" cy="4829080"/>
          </a:xfrm>
        </p:spPr>
        <p:txBody>
          <a:bodyPr/>
          <a:lstStyle/>
          <a:p>
            <a:pPr marL="285750" indent="-285750">
              <a:buFont typeface="Arial" panose="020B0604020202020204" pitchFamily="34" charset="0"/>
              <a:buChar char="•"/>
            </a:pPr>
            <a:r>
              <a:rPr lang="nl-NL" sz="1800" dirty="0"/>
              <a:t>Open World Assumption</a:t>
            </a:r>
          </a:p>
          <a:p>
            <a:pPr marL="466725" lvl="1" indent="-285750">
              <a:buFont typeface="Arial" panose="020B0604020202020204" pitchFamily="34" charset="0"/>
              <a:buChar char="•"/>
            </a:pPr>
            <a:r>
              <a:rPr lang="nl-NL" sz="1800" dirty="0"/>
              <a:t>If you cannot prove something, we do not know its status</a:t>
            </a:r>
          </a:p>
          <a:p>
            <a:pPr marL="466725" lvl="1" indent="-285750">
              <a:buFont typeface="Arial" panose="020B0604020202020204" pitchFamily="34" charset="0"/>
              <a:buChar char="•"/>
            </a:pPr>
            <a:r>
              <a:rPr lang="nl-NL" sz="1800" dirty="0"/>
              <a:t>Normal assumption when applying logic</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Closed World Assumption</a:t>
            </a:r>
          </a:p>
          <a:p>
            <a:pPr marL="466725" lvl="1" indent="-285750">
              <a:buFont typeface="Arial" panose="020B0604020202020204" pitchFamily="34" charset="0"/>
              <a:buChar char="•"/>
            </a:pPr>
            <a:r>
              <a:rPr lang="nl-NL" sz="1800" dirty="0"/>
              <a:t>If you cannot prove something, assume it is false</a:t>
            </a:r>
          </a:p>
          <a:p>
            <a:pPr marL="466725" lvl="1" indent="-285750">
              <a:buFont typeface="Arial" panose="020B0604020202020204" pitchFamily="34" charset="0"/>
              <a:buChar char="•"/>
            </a:pPr>
            <a:r>
              <a:rPr lang="nl-NL" sz="1800" dirty="0"/>
              <a:t>When it is assumed that the knowledge base is complete, or incomplete but decision must be made regardless</a:t>
            </a:r>
          </a:p>
          <a:p>
            <a:pPr marL="466725" lvl="1" indent="-285750">
              <a:buFont typeface="Arial" panose="020B0604020202020204" pitchFamily="34" charset="0"/>
              <a:buChar char="•"/>
            </a:pPr>
            <a:endParaRPr lang="nl-NL" sz="1800" dirty="0"/>
          </a:p>
          <a:p>
            <a:r>
              <a:rPr lang="nl-NL" sz="1800" dirty="0">
                <a:sym typeface="Wingdings" panose="05000000000000000000" pitchFamily="2" charset="2"/>
              </a:rPr>
              <a:t> </a:t>
            </a:r>
            <a:r>
              <a:rPr lang="nl-NL" sz="1800" dirty="0"/>
              <a:t>OWL was designed for the Semantic Web, where you know you don’t have all information</a:t>
            </a:r>
          </a:p>
          <a:p>
            <a:pPr marL="466725" lvl="1"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68831EE3-787D-562E-6C36-8F47A77FF1CB}"/>
              </a:ext>
            </a:extLst>
          </p:cNvPr>
          <p:cNvSpPr>
            <a:spLocks noGrp="1"/>
          </p:cNvSpPr>
          <p:nvPr>
            <p:ph type="title"/>
          </p:nvPr>
        </p:nvSpPr>
        <p:spPr/>
        <p:txBody>
          <a:bodyPr/>
          <a:lstStyle/>
          <a:p>
            <a:r>
              <a:rPr lang="nl-NL" dirty="0"/>
              <a:t>OWL</a:t>
            </a:r>
          </a:p>
        </p:txBody>
      </p:sp>
      <p:pic>
        <p:nvPicPr>
          <p:cNvPr id="8" name="Picture 7">
            <a:hlinkClick r:id="rId2"/>
            <a:extLst>
              <a:ext uri="{FF2B5EF4-FFF2-40B4-BE49-F238E27FC236}">
                <a16:creationId xmlns:a16="http://schemas.microsoft.com/office/drawing/2014/main" id="{83008DA8-F291-D29E-98B6-702B66ECFDAC}"/>
              </a:ext>
            </a:extLst>
          </p:cNvPr>
          <p:cNvPicPr>
            <a:picLocks noChangeAspect="1"/>
          </p:cNvPicPr>
          <p:nvPr/>
        </p:nvPicPr>
        <p:blipFill>
          <a:blip r:embed="rId3"/>
          <a:stretch>
            <a:fillRect/>
          </a:stretch>
        </p:blipFill>
        <p:spPr>
          <a:xfrm>
            <a:off x="6672064" y="2492896"/>
            <a:ext cx="5256584" cy="1658117"/>
          </a:xfrm>
          <a:prstGeom prst="rect">
            <a:avLst/>
          </a:prstGeom>
        </p:spPr>
      </p:pic>
    </p:spTree>
    <p:extLst>
      <p:ext uri="{BB962C8B-B14F-4D97-AF65-F5344CB8AC3E}">
        <p14:creationId xmlns:p14="http://schemas.microsoft.com/office/powerpoint/2010/main" val="3427135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71ACB4-4529-19AA-A162-974A2EF8D149}"/>
              </a:ext>
            </a:extLst>
          </p:cNvPr>
          <p:cNvSpPr>
            <a:spLocks noGrp="1"/>
          </p:cNvSpPr>
          <p:nvPr>
            <p:ph type="title"/>
          </p:nvPr>
        </p:nvSpPr>
        <p:spPr/>
        <p:txBody>
          <a:bodyPr/>
          <a:lstStyle/>
          <a:p>
            <a:r>
              <a:rPr lang="nl-NL" dirty="0"/>
              <a:t>Question: Can you think of a case where OWL reasoning could be of value?</a:t>
            </a:r>
          </a:p>
        </p:txBody>
      </p:sp>
      <p:pic>
        <p:nvPicPr>
          <p:cNvPr id="5" name="Picture 4">
            <a:extLst>
              <a:ext uri="{FF2B5EF4-FFF2-40B4-BE49-F238E27FC236}">
                <a16:creationId xmlns:a16="http://schemas.microsoft.com/office/drawing/2014/main" id="{0B2B2E9F-07E2-8C10-77C7-61F4C14B5ACF}"/>
              </a:ext>
            </a:extLst>
          </p:cNvPr>
          <p:cNvPicPr>
            <a:picLocks noChangeAspect="1"/>
          </p:cNvPicPr>
          <p:nvPr/>
        </p:nvPicPr>
        <p:blipFill>
          <a:blip r:embed="rId2"/>
          <a:stretch>
            <a:fillRect/>
          </a:stretch>
        </p:blipFill>
        <p:spPr>
          <a:xfrm>
            <a:off x="7680175" y="906235"/>
            <a:ext cx="4096853" cy="5464923"/>
          </a:xfrm>
          <a:prstGeom prst="rect">
            <a:avLst/>
          </a:prstGeom>
        </p:spPr>
      </p:pic>
      <p:sp>
        <p:nvSpPr>
          <p:cNvPr id="6" name="TextBox 5">
            <a:extLst>
              <a:ext uri="{FF2B5EF4-FFF2-40B4-BE49-F238E27FC236}">
                <a16:creationId xmlns:a16="http://schemas.microsoft.com/office/drawing/2014/main" id="{FA0AB846-3791-3059-7347-3AEA2058753C}"/>
              </a:ext>
            </a:extLst>
          </p:cNvPr>
          <p:cNvSpPr txBox="1"/>
          <p:nvPr/>
        </p:nvSpPr>
        <p:spPr>
          <a:xfrm>
            <a:off x="407987" y="3958097"/>
            <a:ext cx="6408093" cy="309958"/>
          </a:xfrm>
          <a:prstGeom prst="rect">
            <a:avLst/>
          </a:prstGeom>
          <a:noFill/>
        </p:spPr>
        <p:txBody>
          <a:bodyPr vert="horz" wrap="square" lIns="90000" tIns="46800" rIns="90000" bIns="46800" rtlCol="0" anchor="ctr">
            <a:spAutoFit/>
          </a:bodyPr>
          <a:lstStyle/>
          <a:p>
            <a:pPr algn="l">
              <a:spcBef>
                <a:spcPct val="0"/>
              </a:spcBef>
            </a:pPr>
            <a:r>
              <a:rPr lang="nl-NL" sz="1400" dirty="0"/>
              <a:t>...</a:t>
            </a:r>
          </a:p>
        </p:txBody>
      </p:sp>
      <p:sp>
        <p:nvSpPr>
          <p:cNvPr id="7" name="TextBox 6">
            <a:extLst>
              <a:ext uri="{FF2B5EF4-FFF2-40B4-BE49-F238E27FC236}">
                <a16:creationId xmlns:a16="http://schemas.microsoft.com/office/drawing/2014/main" id="{4BBF9196-53FD-EE8E-044E-96102AE99FEF}"/>
              </a:ext>
            </a:extLst>
          </p:cNvPr>
          <p:cNvSpPr txBox="1"/>
          <p:nvPr/>
        </p:nvSpPr>
        <p:spPr>
          <a:xfrm>
            <a:off x="390698" y="2695082"/>
            <a:ext cx="6912149" cy="2033506"/>
          </a:xfrm>
          <a:prstGeom prst="rect">
            <a:avLst/>
          </a:prstGeom>
          <a:noFill/>
        </p:spPr>
        <p:txBody>
          <a:bodyPr vert="horz" wrap="square" lIns="90000" tIns="46800" rIns="90000" bIns="46800" rtlCol="0" anchor="ctr">
            <a:spAutoFit/>
          </a:bodyPr>
          <a:lstStyle/>
          <a:p>
            <a:pPr algn="l">
              <a:spcBef>
                <a:spcPct val="0"/>
              </a:spcBef>
            </a:pPr>
            <a:r>
              <a:rPr lang="nl-NL" dirty="0">
                <a:solidFill>
                  <a:schemeClr val="bg1"/>
                </a:solidFill>
              </a:rPr>
              <a:t>Copilot suggests:</a:t>
            </a:r>
          </a:p>
          <a:p>
            <a:pPr marL="285750" indent="-285750" algn="l">
              <a:spcBef>
                <a:spcPct val="0"/>
              </a:spcBef>
              <a:buFont typeface="Arial" panose="020B0604020202020204" pitchFamily="34" charset="0"/>
              <a:buChar char="•"/>
            </a:pPr>
            <a:r>
              <a:rPr lang="nl-NL" dirty="0">
                <a:solidFill>
                  <a:schemeClr val="bg1"/>
                </a:solidFill>
              </a:rPr>
              <a:t>Healthcare and Medical Diagnosis</a:t>
            </a:r>
          </a:p>
          <a:p>
            <a:pPr marL="285750" indent="-285750" algn="l">
              <a:spcBef>
                <a:spcPct val="0"/>
              </a:spcBef>
              <a:buFont typeface="Arial" panose="020B0604020202020204" pitchFamily="34" charset="0"/>
              <a:buChar char="•"/>
            </a:pPr>
            <a:r>
              <a:rPr lang="nl-NL" dirty="0">
                <a:solidFill>
                  <a:schemeClr val="bg1"/>
                </a:solidFill>
              </a:rPr>
              <a:t>Semantic Web and Knowledge Management</a:t>
            </a:r>
          </a:p>
          <a:p>
            <a:pPr marL="285750" indent="-285750" algn="l">
              <a:spcBef>
                <a:spcPct val="0"/>
              </a:spcBef>
              <a:buFont typeface="Arial" panose="020B0604020202020204" pitchFamily="34" charset="0"/>
              <a:buChar char="•"/>
            </a:pPr>
            <a:r>
              <a:rPr lang="nl-NL" dirty="0">
                <a:solidFill>
                  <a:schemeClr val="bg1"/>
                </a:solidFill>
              </a:rPr>
              <a:t>Smart Cities and IoT</a:t>
            </a:r>
          </a:p>
          <a:p>
            <a:pPr marL="285750" indent="-285750" algn="l">
              <a:spcBef>
                <a:spcPct val="0"/>
              </a:spcBef>
              <a:buFont typeface="Arial" panose="020B0604020202020204" pitchFamily="34" charset="0"/>
              <a:buChar char="•"/>
            </a:pPr>
            <a:r>
              <a:rPr lang="nl-NL" dirty="0">
                <a:solidFill>
                  <a:schemeClr val="bg1"/>
                </a:solidFill>
              </a:rPr>
              <a:t>E-commerce and Recommendation Systems</a:t>
            </a:r>
          </a:p>
          <a:p>
            <a:pPr marL="285750" indent="-285750" algn="l">
              <a:spcBef>
                <a:spcPct val="0"/>
              </a:spcBef>
              <a:buFont typeface="Arial" panose="020B0604020202020204" pitchFamily="34" charset="0"/>
              <a:buChar char="•"/>
            </a:pPr>
            <a:r>
              <a:rPr lang="nl-NL" dirty="0">
                <a:solidFill>
                  <a:schemeClr val="bg1"/>
                </a:solidFill>
              </a:rPr>
              <a:t>Education and E-learning</a:t>
            </a:r>
          </a:p>
          <a:p>
            <a:pPr marL="285750" indent="-285750" algn="l">
              <a:spcBef>
                <a:spcPct val="0"/>
              </a:spcBef>
              <a:buFont typeface="Arial" panose="020B0604020202020204" pitchFamily="34" charset="0"/>
              <a:buChar char="•"/>
            </a:pPr>
            <a:r>
              <a:rPr lang="nl-NL" dirty="0">
                <a:solidFill>
                  <a:schemeClr val="bg1"/>
                </a:solidFill>
              </a:rPr>
              <a:t>Legal and Compliance</a:t>
            </a:r>
          </a:p>
        </p:txBody>
      </p:sp>
    </p:spTree>
    <p:extLst>
      <p:ext uri="{BB962C8B-B14F-4D97-AF65-F5344CB8AC3E}">
        <p14:creationId xmlns:p14="http://schemas.microsoft.com/office/powerpoint/2010/main" val="1842401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289F94-E2AF-5949-E93F-4C3694E088FC}"/>
              </a:ext>
            </a:extLst>
          </p:cNvPr>
          <p:cNvSpPr>
            <a:spLocks noGrp="1"/>
          </p:cNvSpPr>
          <p:nvPr>
            <p:ph type="body" sz="quarter" idx="15"/>
          </p:nvPr>
        </p:nvSpPr>
        <p:spPr>
          <a:xfrm>
            <a:off x="414971" y="1125538"/>
            <a:ext cx="11369042" cy="246221"/>
          </a:xfrm>
        </p:spPr>
        <p:txBody>
          <a:bodyPr/>
          <a:lstStyle/>
          <a:p>
            <a:r>
              <a:rPr lang="nl-NL" sz="1600" dirty="0"/>
              <a:t>Shapes Constraint Language</a:t>
            </a:r>
          </a:p>
        </p:txBody>
      </p:sp>
      <p:sp>
        <p:nvSpPr>
          <p:cNvPr id="3" name="Text Placeholder 2">
            <a:extLst>
              <a:ext uri="{FF2B5EF4-FFF2-40B4-BE49-F238E27FC236}">
                <a16:creationId xmlns:a16="http://schemas.microsoft.com/office/drawing/2014/main" id="{AE070DA5-5967-449E-683C-DC9C77F9218E}"/>
              </a:ext>
            </a:extLst>
          </p:cNvPr>
          <p:cNvSpPr>
            <a:spLocks noGrp="1"/>
          </p:cNvSpPr>
          <p:nvPr>
            <p:ph type="body" sz="quarter" idx="17"/>
          </p:nvPr>
        </p:nvSpPr>
        <p:spPr>
          <a:xfrm>
            <a:off x="414971" y="1624108"/>
            <a:ext cx="5897053" cy="4829080"/>
          </a:xfrm>
        </p:spPr>
        <p:txBody>
          <a:bodyPr/>
          <a:lstStyle/>
          <a:p>
            <a:pPr marL="285750" indent="-285750">
              <a:buFont typeface="Arial" panose="020B0604020202020204" pitchFamily="34" charset="0"/>
              <a:buChar char="•"/>
            </a:pPr>
            <a:r>
              <a:rPr lang="nl-NL" sz="2000" dirty="0"/>
              <a:t>2017</a:t>
            </a:r>
          </a:p>
          <a:p>
            <a:pPr marL="285750" indent="-285750">
              <a:buFont typeface="Arial" panose="020B0604020202020204" pitchFamily="34" charset="0"/>
              <a:buChar char="•"/>
            </a:pPr>
            <a:endParaRPr lang="nl-NL" sz="2000" dirty="0"/>
          </a:p>
          <a:p>
            <a:pPr marL="285750" indent="-285750">
              <a:buFont typeface="Arial" panose="020B0604020202020204" pitchFamily="34" charset="0"/>
              <a:buChar char="•"/>
            </a:pPr>
            <a:r>
              <a:rPr lang="nl-NL" sz="2000" dirty="0"/>
              <a:t>Designed for RDF data validation</a:t>
            </a:r>
          </a:p>
          <a:p>
            <a:pPr marL="285750" indent="-285750">
              <a:buFont typeface="Arial" panose="020B0604020202020204" pitchFamily="34" charset="0"/>
              <a:buChar char="•"/>
            </a:pPr>
            <a:r>
              <a:rPr lang="nl-NL" sz="2000" dirty="0"/>
              <a:t>Closed World Assumption</a:t>
            </a:r>
          </a:p>
          <a:p>
            <a:pPr marL="285750" indent="-285750">
              <a:buFont typeface="Arial" panose="020B0604020202020204" pitchFamily="34" charset="0"/>
              <a:buChar char="•"/>
            </a:pPr>
            <a:endParaRPr lang="nl-NL" sz="2000" dirty="0"/>
          </a:p>
        </p:txBody>
      </p:sp>
      <p:sp>
        <p:nvSpPr>
          <p:cNvPr id="4" name="Title 3">
            <a:extLst>
              <a:ext uri="{FF2B5EF4-FFF2-40B4-BE49-F238E27FC236}">
                <a16:creationId xmlns:a16="http://schemas.microsoft.com/office/drawing/2014/main" id="{9F307C12-5F01-66F0-2DA4-3989356EF512}"/>
              </a:ext>
            </a:extLst>
          </p:cNvPr>
          <p:cNvSpPr>
            <a:spLocks noGrp="1"/>
          </p:cNvSpPr>
          <p:nvPr>
            <p:ph type="title"/>
          </p:nvPr>
        </p:nvSpPr>
        <p:spPr/>
        <p:txBody>
          <a:bodyPr/>
          <a:lstStyle/>
          <a:p>
            <a:r>
              <a:rPr lang="nl-NL" dirty="0"/>
              <a:t>SHACL</a:t>
            </a:r>
          </a:p>
        </p:txBody>
      </p:sp>
      <p:pic>
        <p:nvPicPr>
          <p:cNvPr id="6" name="Picture 5">
            <a:extLst>
              <a:ext uri="{FF2B5EF4-FFF2-40B4-BE49-F238E27FC236}">
                <a16:creationId xmlns:a16="http://schemas.microsoft.com/office/drawing/2014/main" id="{22E987EA-CFB6-8ECE-EA2D-909D8A01AE5F}"/>
              </a:ext>
            </a:extLst>
          </p:cNvPr>
          <p:cNvPicPr>
            <a:picLocks noChangeAspect="1"/>
          </p:cNvPicPr>
          <p:nvPr/>
        </p:nvPicPr>
        <p:blipFill>
          <a:blip r:embed="rId2"/>
          <a:stretch>
            <a:fillRect/>
          </a:stretch>
        </p:blipFill>
        <p:spPr>
          <a:xfrm>
            <a:off x="6616770" y="3152403"/>
            <a:ext cx="5571757" cy="3705597"/>
          </a:xfrm>
          <a:prstGeom prst="rect">
            <a:avLst/>
          </a:prstGeom>
        </p:spPr>
      </p:pic>
    </p:spTree>
    <p:extLst>
      <p:ext uri="{BB962C8B-B14F-4D97-AF65-F5344CB8AC3E}">
        <p14:creationId xmlns:p14="http://schemas.microsoft.com/office/powerpoint/2010/main" val="2858977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289F94-E2AF-5949-E93F-4C3694E088FC}"/>
              </a:ext>
            </a:extLst>
          </p:cNvPr>
          <p:cNvSpPr>
            <a:spLocks noGrp="1"/>
          </p:cNvSpPr>
          <p:nvPr>
            <p:ph type="body" sz="quarter" idx="15"/>
          </p:nvPr>
        </p:nvSpPr>
        <p:spPr>
          <a:xfrm>
            <a:off x="414971" y="1125538"/>
            <a:ext cx="11369042" cy="246221"/>
          </a:xfrm>
        </p:spPr>
        <p:txBody>
          <a:bodyPr/>
          <a:lstStyle/>
          <a:p>
            <a:r>
              <a:rPr lang="nl-NL" sz="1600" dirty="0"/>
              <a:t>Shapes Graph + Data </a:t>
            </a:r>
            <a:r>
              <a:rPr lang="nl-NL" dirty="0"/>
              <a:t>G</a:t>
            </a:r>
            <a:r>
              <a:rPr lang="nl-NL" sz="1600" dirty="0"/>
              <a:t>raph </a:t>
            </a:r>
            <a:r>
              <a:rPr lang="nl-NL" sz="1600" dirty="0">
                <a:sym typeface="Wingdings" panose="05000000000000000000" pitchFamily="2" charset="2"/>
              </a:rPr>
              <a:t> Validation Report</a:t>
            </a:r>
            <a:endParaRPr lang="nl-NL" sz="1600" dirty="0"/>
          </a:p>
        </p:txBody>
      </p:sp>
      <p:sp>
        <p:nvSpPr>
          <p:cNvPr id="3" name="Text Placeholder 2">
            <a:extLst>
              <a:ext uri="{FF2B5EF4-FFF2-40B4-BE49-F238E27FC236}">
                <a16:creationId xmlns:a16="http://schemas.microsoft.com/office/drawing/2014/main" id="{AE070DA5-5967-449E-683C-DC9C77F9218E}"/>
              </a:ext>
            </a:extLst>
          </p:cNvPr>
          <p:cNvSpPr>
            <a:spLocks noGrp="1"/>
          </p:cNvSpPr>
          <p:nvPr>
            <p:ph type="body" sz="quarter" idx="17"/>
          </p:nvPr>
        </p:nvSpPr>
        <p:spPr>
          <a:xfrm>
            <a:off x="414971" y="1624108"/>
            <a:ext cx="4888941" cy="4829080"/>
          </a:xfrm>
        </p:spPr>
        <p:txBody>
          <a:bodyPr/>
          <a:lstStyle/>
          <a:p>
            <a:pPr marL="285750" indent="-285750">
              <a:buFont typeface="Arial" panose="020B0604020202020204" pitchFamily="34" charset="0"/>
              <a:buChar char="•"/>
            </a:pPr>
            <a:r>
              <a:rPr lang="nl-NL" sz="2000" dirty="0"/>
              <a:t>SHACL gives you primitives to model node shapes and property phapes</a:t>
            </a:r>
          </a:p>
          <a:p>
            <a:pPr marL="285750" indent="-285750">
              <a:buFont typeface="Arial" panose="020B0604020202020204" pitchFamily="34" charset="0"/>
              <a:buChar char="•"/>
            </a:pPr>
            <a:endParaRPr lang="nl-NL" sz="2000" dirty="0"/>
          </a:p>
          <a:p>
            <a:pPr marL="285750" indent="-285750">
              <a:buFont typeface="Arial" panose="020B0604020202020204" pitchFamily="34" charset="0"/>
              <a:buChar char="•"/>
            </a:pPr>
            <a:r>
              <a:rPr lang="nl-NL" sz="2000" dirty="0"/>
              <a:t>SHACL shapes can also be shared as Linked Data</a:t>
            </a:r>
          </a:p>
          <a:p>
            <a:pPr marL="285750" indent="-285750">
              <a:buFont typeface="Arial" panose="020B0604020202020204" pitchFamily="34" charset="0"/>
              <a:buChar char="•"/>
            </a:pPr>
            <a:endParaRPr lang="nl-NL" sz="2000" dirty="0"/>
          </a:p>
          <a:p>
            <a:pPr marL="285750" indent="-285750">
              <a:buFont typeface="Arial" panose="020B0604020202020204" pitchFamily="34" charset="0"/>
              <a:buChar char="•"/>
            </a:pPr>
            <a:r>
              <a:rPr lang="nl-NL" sz="2000" dirty="0"/>
              <a:t>Note that you can also refer to concepts and relationships from other ontologies/vocabularies</a:t>
            </a:r>
          </a:p>
        </p:txBody>
      </p:sp>
      <p:sp>
        <p:nvSpPr>
          <p:cNvPr id="4" name="Title 3">
            <a:extLst>
              <a:ext uri="{FF2B5EF4-FFF2-40B4-BE49-F238E27FC236}">
                <a16:creationId xmlns:a16="http://schemas.microsoft.com/office/drawing/2014/main" id="{9F307C12-5F01-66F0-2DA4-3989356EF512}"/>
              </a:ext>
            </a:extLst>
          </p:cNvPr>
          <p:cNvSpPr>
            <a:spLocks noGrp="1"/>
          </p:cNvSpPr>
          <p:nvPr>
            <p:ph type="title"/>
          </p:nvPr>
        </p:nvSpPr>
        <p:spPr/>
        <p:txBody>
          <a:bodyPr/>
          <a:lstStyle/>
          <a:p>
            <a:r>
              <a:rPr lang="nl-NL" dirty="0"/>
              <a:t>SHACL</a:t>
            </a:r>
          </a:p>
        </p:txBody>
      </p:sp>
      <p:pic>
        <p:nvPicPr>
          <p:cNvPr id="11" name="Picture 10">
            <a:extLst>
              <a:ext uri="{FF2B5EF4-FFF2-40B4-BE49-F238E27FC236}">
                <a16:creationId xmlns:a16="http://schemas.microsoft.com/office/drawing/2014/main" id="{0A0C30F4-5B96-4CD4-DEFE-464309E76C68}"/>
              </a:ext>
            </a:extLst>
          </p:cNvPr>
          <p:cNvPicPr>
            <a:picLocks noChangeAspect="1"/>
          </p:cNvPicPr>
          <p:nvPr/>
        </p:nvPicPr>
        <p:blipFill>
          <a:blip r:embed="rId2"/>
          <a:stretch>
            <a:fillRect/>
          </a:stretch>
        </p:blipFill>
        <p:spPr>
          <a:xfrm>
            <a:off x="5773773" y="2537883"/>
            <a:ext cx="4388869" cy="3194579"/>
          </a:xfrm>
          <a:prstGeom prst="rect">
            <a:avLst/>
          </a:prstGeom>
        </p:spPr>
      </p:pic>
      <p:pic>
        <p:nvPicPr>
          <p:cNvPr id="9" name="Picture 8">
            <a:extLst>
              <a:ext uri="{FF2B5EF4-FFF2-40B4-BE49-F238E27FC236}">
                <a16:creationId xmlns:a16="http://schemas.microsoft.com/office/drawing/2014/main" id="{14B94B26-976B-4C39-0721-D0776C3A7F32}"/>
              </a:ext>
            </a:extLst>
          </p:cNvPr>
          <p:cNvPicPr>
            <a:picLocks noChangeAspect="1"/>
          </p:cNvPicPr>
          <p:nvPr/>
        </p:nvPicPr>
        <p:blipFill>
          <a:blip r:embed="rId3"/>
          <a:stretch>
            <a:fillRect/>
          </a:stretch>
        </p:blipFill>
        <p:spPr>
          <a:xfrm>
            <a:off x="7968207" y="481126"/>
            <a:ext cx="3535986" cy="3475021"/>
          </a:xfrm>
          <a:prstGeom prst="rect">
            <a:avLst/>
          </a:prstGeom>
        </p:spPr>
      </p:pic>
      <p:pic>
        <p:nvPicPr>
          <p:cNvPr id="13" name="Picture 12">
            <a:extLst>
              <a:ext uri="{FF2B5EF4-FFF2-40B4-BE49-F238E27FC236}">
                <a16:creationId xmlns:a16="http://schemas.microsoft.com/office/drawing/2014/main" id="{AB8282D4-0B92-518F-D2EE-E5568CDB9A35}"/>
              </a:ext>
            </a:extLst>
          </p:cNvPr>
          <p:cNvPicPr>
            <a:picLocks noChangeAspect="1"/>
          </p:cNvPicPr>
          <p:nvPr/>
        </p:nvPicPr>
        <p:blipFill>
          <a:blip r:embed="rId4"/>
          <a:stretch>
            <a:fillRect/>
          </a:stretch>
        </p:blipFill>
        <p:spPr>
          <a:xfrm>
            <a:off x="8479305" y="3846412"/>
            <a:ext cx="3634985" cy="2803858"/>
          </a:xfrm>
          <a:prstGeom prst="rect">
            <a:avLst/>
          </a:prstGeom>
        </p:spPr>
      </p:pic>
    </p:spTree>
    <p:extLst>
      <p:ext uri="{BB962C8B-B14F-4D97-AF65-F5344CB8AC3E}">
        <p14:creationId xmlns:p14="http://schemas.microsoft.com/office/powerpoint/2010/main" val="1827488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71ACB4-4529-19AA-A162-974A2EF8D149}"/>
              </a:ext>
            </a:extLst>
          </p:cNvPr>
          <p:cNvSpPr>
            <a:spLocks noGrp="1"/>
          </p:cNvSpPr>
          <p:nvPr>
            <p:ph type="title"/>
          </p:nvPr>
        </p:nvSpPr>
        <p:spPr/>
        <p:txBody>
          <a:bodyPr/>
          <a:lstStyle/>
          <a:p>
            <a:r>
              <a:rPr lang="nl-NL" dirty="0"/>
              <a:t>Question: Where would you apply SHACL?</a:t>
            </a:r>
          </a:p>
        </p:txBody>
      </p:sp>
      <p:pic>
        <p:nvPicPr>
          <p:cNvPr id="5" name="Picture 4">
            <a:extLst>
              <a:ext uri="{FF2B5EF4-FFF2-40B4-BE49-F238E27FC236}">
                <a16:creationId xmlns:a16="http://schemas.microsoft.com/office/drawing/2014/main" id="{CF7A4F57-D732-B49D-AAB4-B7E09EE66A3F}"/>
              </a:ext>
            </a:extLst>
          </p:cNvPr>
          <p:cNvPicPr>
            <a:picLocks noChangeAspect="1"/>
          </p:cNvPicPr>
          <p:nvPr/>
        </p:nvPicPr>
        <p:blipFill>
          <a:blip r:embed="rId2"/>
          <a:stretch>
            <a:fillRect/>
          </a:stretch>
        </p:blipFill>
        <p:spPr>
          <a:xfrm>
            <a:off x="7531685" y="692696"/>
            <a:ext cx="4143016" cy="5880410"/>
          </a:xfrm>
          <a:prstGeom prst="rect">
            <a:avLst/>
          </a:prstGeom>
        </p:spPr>
      </p:pic>
      <p:sp>
        <p:nvSpPr>
          <p:cNvPr id="6" name="TextBox 5">
            <a:extLst>
              <a:ext uri="{FF2B5EF4-FFF2-40B4-BE49-F238E27FC236}">
                <a16:creationId xmlns:a16="http://schemas.microsoft.com/office/drawing/2014/main" id="{843268BD-825E-B32D-27BB-A0AE5D702FB7}"/>
              </a:ext>
            </a:extLst>
          </p:cNvPr>
          <p:cNvSpPr txBox="1"/>
          <p:nvPr/>
        </p:nvSpPr>
        <p:spPr>
          <a:xfrm>
            <a:off x="390698" y="2418086"/>
            <a:ext cx="6912149" cy="2587504"/>
          </a:xfrm>
          <a:prstGeom prst="rect">
            <a:avLst/>
          </a:prstGeom>
          <a:noFill/>
        </p:spPr>
        <p:txBody>
          <a:bodyPr vert="horz" wrap="square" lIns="90000" tIns="46800" rIns="90000" bIns="46800" rtlCol="0" anchor="ctr">
            <a:spAutoFit/>
          </a:bodyPr>
          <a:lstStyle/>
          <a:p>
            <a:pPr algn="l">
              <a:spcBef>
                <a:spcPct val="0"/>
              </a:spcBef>
            </a:pPr>
            <a:r>
              <a:rPr lang="nl-NL" dirty="0">
                <a:solidFill>
                  <a:schemeClr val="bg1"/>
                </a:solidFill>
              </a:rPr>
              <a:t>Copilot suggests:</a:t>
            </a:r>
          </a:p>
          <a:p>
            <a:pPr algn="l">
              <a:spcBef>
                <a:spcPct val="0"/>
              </a:spcBef>
            </a:pPr>
            <a:endParaRPr lang="nl-NL" dirty="0">
              <a:solidFill>
                <a:schemeClr val="bg1"/>
              </a:solidFill>
            </a:endParaRPr>
          </a:p>
          <a:p>
            <a:pPr marL="285750" indent="-285750" algn="l">
              <a:spcBef>
                <a:spcPct val="0"/>
              </a:spcBef>
              <a:buFont typeface="Arial" panose="020B0604020202020204" pitchFamily="34" charset="0"/>
              <a:buChar char="•"/>
            </a:pPr>
            <a:r>
              <a:rPr lang="nl-NL" dirty="0">
                <a:solidFill>
                  <a:schemeClr val="bg1"/>
                </a:solidFill>
              </a:rPr>
              <a:t>Data Integration and Interoperability</a:t>
            </a:r>
          </a:p>
          <a:p>
            <a:pPr marL="285750" indent="-285750" algn="l">
              <a:spcBef>
                <a:spcPct val="0"/>
              </a:spcBef>
              <a:buFont typeface="Arial" panose="020B0604020202020204" pitchFamily="34" charset="0"/>
              <a:buChar char="•"/>
            </a:pPr>
            <a:r>
              <a:rPr lang="nl-NL" dirty="0">
                <a:solidFill>
                  <a:schemeClr val="bg1"/>
                </a:solidFill>
              </a:rPr>
              <a:t>Semantic Web Applications</a:t>
            </a:r>
          </a:p>
          <a:p>
            <a:pPr marL="285750" indent="-285750" algn="l">
              <a:spcBef>
                <a:spcPct val="0"/>
              </a:spcBef>
              <a:buFont typeface="Arial" panose="020B0604020202020204" pitchFamily="34" charset="0"/>
              <a:buChar char="•"/>
            </a:pPr>
            <a:r>
              <a:rPr lang="nl-NL" dirty="0">
                <a:solidFill>
                  <a:schemeClr val="bg1"/>
                </a:solidFill>
              </a:rPr>
              <a:t>Healthcare and Life Sciences</a:t>
            </a:r>
          </a:p>
          <a:p>
            <a:pPr marL="285750" indent="-285750" algn="l">
              <a:spcBef>
                <a:spcPct val="0"/>
              </a:spcBef>
              <a:buFont typeface="Arial" panose="020B0604020202020204" pitchFamily="34" charset="0"/>
              <a:buChar char="•"/>
            </a:pPr>
            <a:r>
              <a:rPr lang="nl-NL" dirty="0">
                <a:solidFill>
                  <a:schemeClr val="bg1"/>
                </a:solidFill>
              </a:rPr>
              <a:t>E-commerce and Business Intelligence</a:t>
            </a:r>
          </a:p>
          <a:p>
            <a:pPr marL="285750" indent="-285750" algn="l">
              <a:spcBef>
                <a:spcPct val="0"/>
              </a:spcBef>
              <a:buFont typeface="Arial" panose="020B0604020202020204" pitchFamily="34" charset="0"/>
              <a:buChar char="•"/>
            </a:pPr>
            <a:r>
              <a:rPr lang="nl-NL" dirty="0">
                <a:solidFill>
                  <a:schemeClr val="bg1"/>
                </a:solidFill>
              </a:rPr>
              <a:t>Government and Public Sector</a:t>
            </a:r>
          </a:p>
          <a:p>
            <a:pPr marL="285750" indent="-285750" algn="l">
              <a:spcBef>
                <a:spcPct val="0"/>
              </a:spcBef>
              <a:buFont typeface="Arial" panose="020B0604020202020204" pitchFamily="34" charset="0"/>
              <a:buChar char="•"/>
            </a:pPr>
            <a:r>
              <a:rPr lang="nl-NL" dirty="0">
                <a:solidFill>
                  <a:schemeClr val="bg1"/>
                </a:solidFill>
              </a:rPr>
              <a:t>IoT and Smart Cities</a:t>
            </a:r>
          </a:p>
          <a:p>
            <a:pPr marL="285750" indent="-285750" algn="l">
              <a:spcBef>
                <a:spcPct val="0"/>
              </a:spcBef>
              <a:buFont typeface="Arial" panose="020B0604020202020204" pitchFamily="34" charset="0"/>
              <a:buChar char="•"/>
            </a:pPr>
            <a:r>
              <a:rPr lang="nl-NL" dirty="0">
                <a:solidFill>
                  <a:schemeClr val="bg1"/>
                </a:solidFill>
              </a:rPr>
              <a:t>Education and Research</a:t>
            </a:r>
          </a:p>
        </p:txBody>
      </p:sp>
    </p:spTree>
    <p:extLst>
      <p:ext uri="{BB962C8B-B14F-4D97-AF65-F5344CB8AC3E}">
        <p14:creationId xmlns:p14="http://schemas.microsoft.com/office/powerpoint/2010/main" val="3696394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25DCF4-E13F-4F90-A29E-CC8271AEF47D}"/>
              </a:ext>
            </a:extLst>
          </p:cNvPr>
          <p:cNvSpPr>
            <a:spLocks noGrp="1"/>
          </p:cNvSpPr>
          <p:nvPr>
            <p:ph type="title"/>
            <p:custDataLst>
              <p:tags r:id="rId2"/>
            </p:custDataLst>
          </p:nvPr>
        </p:nvSpPr>
        <p:spPr>
          <a:xfrm>
            <a:off x="1079321" y="6907"/>
            <a:ext cx="8640763" cy="1116000"/>
          </a:xfrm>
        </p:spPr>
        <p:txBody>
          <a:bodyPr/>
          <a:lstStyle/>
          <a:p>
            <a:r>
              <a:rPr lang="en-US" dirty="0"/>
              <a:t>Agenda</a:t>
            </a:r>
          </a:p>
        </p:txBody>
      </p:sp>
      <p:sp>
        <p:nvSpPr>
          <p:cNvPr id="9" name="Text Placeholder 8">
            <a:extLst>
              <a:ext uri="{FF2B5EF4-FFF2-40B4-BE49-F238E27FC236}">
                <a16:creationId xmlns:a16="http://schemas.microsoft.com/office/drawing/2014/main" id="{C91DA5C9-C44F-4D98-ADAB-2CF17D13CDFE}"/>
              </a:ext>
            </a:extLst>
          </p:cNvPr>
          <p:cNvSpPr>
            <a:spLocks noGrp="1"/>
          </p:cNvSpPr>
          <p:nvPr>
            <p:ph type="body" sz="quarter" idx="27"/>
          </p:nvPr>
        </p:nvSpPr>
        <p:spPr/>
        <p:txBody>
          <a:bodyPr/>
          <a:lstStyle/>
          <a:p>
            <a:r>
              <a:rPr lang="en-US" dirty="0"/>
              <a:t>01</a:t>
            </a:r>
          </a:p>
        </p:txBody>
      </p:sp>
      <p:sp>
        <p:nvSpPr>
          <p:cNvPr id="6" name="Text Placeholder 5">
            <a:extLst>
              <a:ext uri="{FF2B5EF4-FFF2-40B4-BE49-F238E27FC236}">
                <a16:creationId xmlns:a16="http://schemas.microsoft.com/office/drawing/2014/main" id="{A9D54E7C-EC5D-4279-98B5-7D1267C2C942}"/>
              </a:ext>
            </a:extLst>
          </p:cNvPr>
          <p:cNvSpPr>
            <a:spLocks noGrp="1"/>
          </p:cNvSpPr>
          <p:nvPr>
            <p:ph type="body" sz="quarter" idx="24"/>
          </p:nvPr>
        </p:nvSpPr>
        <p:spPr/>
        <p:txBody>
          <a:bodyPr/>
          <a:lstStyle/>
          <a:p>
            <a:r>
              <a:rPr lang="en-US" dirty="0"/>
              <a:t>Introductions</a:t>
            </a:r>
          </a:p>
        </p:txBody>
      </p:sp>
      <p:sp>
        <p:nvSpPr>
          <p:cNvPr id="10" name="Text Placeholder 9">
            <a:extLst>
              <a:ext uri="{FF2B5EF4-FFF2-40B4-BE49-F238E27FC236}">
                <a16:creationId xmlns:a16="http://schemas.microsoft.com/office/drawing/2014/main" id="{33A9CF20-ACF5-46FB-8DBC-6062FC28C8EA}"/>
              </a:ext>
            </a:extLst>
          </p:cNvPr>
          <p:cNvSpPr>
            <a:spLocks noGrp="1"/>
          </p:cNvSpPr>
          <p:nvPr>
            <p:ph type="body" sz="quarter" idx="28"/>
          </p:nvPr>
        </p:nvSpPr>
        <p:spPr/>
        <p:txBody>
          <a:bodyPr/>
          <a:lstStyle/>
          <a:p>
            <a:r>
              <a:rPr lang="en-US" dirty="0"/>
              <a:t>02</a:t>
            </a:r>
          </a:p>
        </p:txBody>
      </p:sp>
      <p:sp>
        <p:nvSpPr>
          <p:cNvPr id="7" name="Text Placeholder 6">
            <a:extLst>
              <a:ext uri="{FF2B5EF4-FFF2-40B4-BE49-F238E27FC236}">
                <a16:creationId xmlns:a16="http://schemas.microsoft.com/office/drawing/2014/main" id="{4355134D-EB62-4307-A5C3-616C6CA6FE8B}"/>
              </a:ext>
            </a:extLst>
          </p:cNvPr>
          <p:cNvSpPr>
            <a:spLocks noGrp="1"/>
          </p:cNvSpPr>
          <p:nvPr>
            <p:ph type="body" sz="quarter" idx="25"/>
          </p:nvPr>
        </p:nvSpPr>
        <p:spPr/>
        <p:txBody>
          <a:bodyPr>
            <a:normAutofit/>
          </a:bodyPr>
          <a:lstStyle/>
          <a:p>
            <a:r>
              <a:rPr lang="en-US" dirty="0"/>
              <a:t>Linked Data/RDF recap</a:t>
            </a:r>
          </a:p>
        </p:txBody>
      </p:sp>
      <p:sp>
        <p:nvSpPr>
          <p:cNvPr id="11" name="Text Placeholder 10">
            <a:extLst>
              <a:ext uri="{FF2B5EF4-FFF2-40B4-BE49-F238E27FC236}">
                <a16:creationId xmlns:a16="http://schemas.microsoft.com/office/drawing/2014/main" id="{5DD61AB0-06BB-4476-BCB3-93815479E959}"/>
              </a:ext>
            </a:extLst>
          </p:cNvPr>
          <p:cNvSpPr>
            <a:spLocks noGrp="1"/>
          </p:cNvSpPr>
          <p:nvPr>
            <p:ph type="body" sz="quarter" idx="29"/>
          </p:nvPr>
        </p:nvSpPr>
        <p:spPr/>
        <p:txBody>
          <a:bodyPr/>
          <a:lstStyle/>
          <a:p>
            <a:r>
              <a:rPr lang="en-US" dirty="0"/>
              <a:t>03</a:t>
            </a:r>
          </a:p>
        </p:txBody>
      </p:sp>
      <p:sp>
        <p:nvSpPr>
          <p:cNvPr id="8" name="Text Placeholder 7">
            <a:extLst>
              <a:ext uri="{FF2B5EF4-FFF2-40B4-BE49-F238E27FC236}">
                <a16:creationId xmlns:a16="http://schemas.microsoft.com/office/drawing/2014/main" id="{581442CE-8089-4C55-AE8A-E69EF53104DB}"/>
              </a:ext>
            </a:extLst>
          </p:cNvPr>
          <p:cNvSpPr>
            <a:spLocks noGrp="1"/>
          </p:cNvSpPr>
          <p:nvPr>
            <p:ph type="body" sz="quarter" idx="26"/>
          </p:nvPr>
        </p:nvSpPr>
        <p:spPr/>
        <p:txBody>
          <a:bodyPr/>
          <a:lstStyle/>
          <a:p>
            <a:r>
              <a:rPr lang="en-US" dirty="0"/>
              <a:t>OWL vs SHACL?</a:t>
            </a:r>
          </a:p>
          <a:p>
            <a:endParaRPr lang="en-US" dirty="0"/>
          </a:p>
        </p:txBody>
      </p:sp>
      <p:cxnSp>
        <p:nvCxnSpPr>
          <p:cNvPr id="28" name="Straight Connector 27">
            <a:extLst>
              <a:ext uri="{FF2B5EF4-FFF2-40B4-BE49-F238E27FC236}">
                <a16:creationId xmlns:a16="http://schemas.microsoft.com/office/drawing/2014/main" id="{0AE1560A-2B8D-4838-9260-873AD6F78A9A}"/>
              </a:ext>
              <a:ext uri="{C183D7F6-B498-43B3-948B-1728B52AA6E4}">
                <adec:decorative xmlns:adec="http://schemas.microsoft.com/office/drawing/2017/decorative" val="1"/>
              </a:ext>
            </a:extLst>
          </p:cNvPr>
          <p:cNvCxnSpPr/>
          <p:nvPr>
            <p:custDataLst>
              <p:tags r:id="rId3"/>
            </p:custDataLst>
          </p:nvPr>
        </p:nvCxnSpPr>
        <p:spPr>
          <a:xfrm>
            <a:off x="1070834" y="1630957"/>
            <a:ext cx="7762016" cy="0"/>
          </a:xfrm>
          <a:prstGeom prst="line">
            <a:avLst/>
          </a:prstGeom>
          <a:noFill/>
          <a:ln w="12700" cap="flat" cmpd="sng" algn="ctr">
            <a:solidFill>
              <a:schemeClr val="accent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8400DEC-42E6-448C-829B-1D7D06F28B85}"/>
              </a:ext>
              <a:ext uri="{C183D7F6-B498-43B3-948B-1728B52AA6E4}">
                <adec:decorative xmlns:adec="http://schemas.microsoft.com/office/drawing/2017/decorative" val="1"/>
              </a:ext>
            </a:extLst>
          </p:cNvPr>
          <p:cNvCxnSpPr/>
          <p:nvPr>
            <p:custDataLst>
              <p:tags r:id="rId4"/>
            </p:custDataLst>
          </p:nvPr>
        </p:nvCxnSpPr>
        <p:spPr>
          <a:xfrm>
            <a:off x="1070834" y="2038389"/>
            <a:ext cx="7762016" cy="0"/>
          </a:xfrm>
          <a:prstGeom prst="line">
            <a:avLst/>
          </a:prstGeom>
          <a:noFill/>
          <a:ln w="12700" cap="flat" cmpd="sng" algn="ctr">
            <a:solidFill>
              <a:schemeClr val="accent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2" name="Text Placeholder 10">
            <a:extLst>
              <a:ext uri="{FF2B5EF4-FFF2-40B4-BE49-F238E27FC236}">
                <a16:creationId xmlns:a16="http://schemas.microsoft.com/office/drawing/2014/main" id="{CEA811E8-6076-90E2-5C9B-1D1222CC22BE}"/>
              </a:ext>
            </a:extLst>
          </p:cNvPr>
          <p:cNvSpPr txBox="1">
            <a:spLocks/>
          </p:cNvSpPr>
          <p:nvPr/>
        </p:nvSpPr>
        <p:spPr>
          <a:xfrm>
            <a:off x="1079500" y="3406614"/>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4</a:t>
            </a:r>
          </a:p>
        </p:txBody>
      </p:sp>
      <p:sp>
        <p:nvSpPr>
          <p:cNvPr id="3" name="Text Placeholder 7">
            <a:extLst>
              <a:ext uri="{FF2B5EF4-FFF2-40B4-BE49-F238E27FC236}">
                <a16:creationId xmlns:a16="http://schemas.microsoft.com/office/drawing/2014/main" id="{89303653-0DFB-782D-4040-9AE013866151}"/>
              </a:ext>
            </a:extLst>
          </p:cNvPr>
          <p:cNvSpPr txBox="1">
            <a:spLocks/>
          </p:cNvSpPr>
          <p:nvPr/>
        </p:nvSpPr>
        <p:spPr>
          <a:xfrm>
            <a:off x="1794570" y="3406614"/>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eep dive: OWL</a:t>
            </a:r>
          </a:p>
        </p:txBody>
      </p:sp>
      <p:sp>
        <p:nvSpPr>
          <p:cNvPr id="5" name="Text Placeholder 10">
            <a:extLst>
              <a:ext uri="{FF2B5EF4-FFF2-40B4-BE49-F238E27FC236}">
                <a16:creationId xmlns:a16="http://schemas.microsoft.com/office/drawing/2014/main" id="{FAC5F772-D767-D72A-EE8A-BCABA43E4227}"/>
              </a:ext>
            </a:extLst>
          </p:cNvPr>
          <p:cNvSpPr txBox="1">
            <a:spLocks/>
          </p:cNvSpPr>
          <p:nvPr/>
        </p:nvSpPr>
        <p:spPr>
          <a:xfrm>
            <a:off x="1079500" y="3995283"/>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5</a:t>
            </a:r>
          </a:p>
        </p:txBody>
      </p:sp>
      <p:sp>
        <p:nvSpPr>
          <p:cNvPr id="12" name="Text Placeholder 7">
            <a:extLst>
              <a:ext uri="{FF2B5EF4-FFF2-40B4-BE49-F238E27FC236}">
                <a16:creationId xmlns:a16="http://schemas.microsoft.com/office/drawing/2014/main" id="{2B81A888-C7ED-5807-5DB4-59F8D6053801}"/>
              </a:ext>
            </a:extLst>
          </p:cNvPr>
          <p:cNvSpPr txBox="1">
            <a:spLocks/>
          </p:cNvSpPr>
          <p:nvPr/>
        </p:nvSpPr>
        <p:spPr>
          <a:xfrm>
            <a:off x="1794570" y="3995283"/>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eep dive: SHACL</a:t>
            </a:r>
          </a:p>
        </p:txBody>
      </p:sp>
    </p:spTree>
    <p:custDataLst>
      <p:tags r:id="rId1"/>
    </p:custDataLst>
    <p:extLst>
      <p:ext uri="{BB962C8B-B14F-4D97-AF65-F5344CB8AC3E}">
        <p14:creationId xmlns:p14="http://schemas.microsoft.com/office/powerpoint/2010/main" val="20342589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r>
              <a:rPr lang="nl-NL" dirty="0"/>
              <a:t>They can be used together</a:t>
            </a:r>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5248981" cy="4829080"/>
          </a:xfrm>
        </p:spPr>
        <p:txBody>
          <a:bodyPr/>
          <a:lstStyle/>
          <a:p>
            <a:pPr marL="285750" indent="-285750">
              <a:buFont typeface="Arial" panose="020B0604020202020204" pitchFamily="34" charset="0"/>
              <a:buChar char="•"/>
            </a:pPr>
            <a:r>
              <a:rPr lang="nl-NL" sz="1800" dirty="0"/>
              <a:t>With OWL you can model logical axioma for inferencing</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Since OWL does not impose constraints on the data, this can be done with SHACL shapes</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You can model these files/graphs separately and only use them when needed</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First: OWL </a:t>
            </a:r>
            <a:r>
              <a:rPr lang="nl-NL" i="1" dirty="0"/>
              <a:t>and </a:t>
            </a:r>
            <a:r>
              <a:rPr lang="nl-NL" dirty="0"/>
              <a:t>SHACL?</a:t>
            </a:r>
          </a:p>
        </p:txBody>
      </p:sp>
      <p:pic>
        <p:nvPicPr>
          <p:cNvPr id="6" name="Picture 5">
            <a:extLst>
              <a:ext uri="{FF2B5EF4-FFF2-40B4-BE49-F238E27FC236}">
                <a16:creationId xmlns:a16="http://schemas.microsoft.com/office/drawing/2014/main" id="{E05D114E-3F1B-D37C-856E-D58679D63AAF}"/>
              </a:ext>
            </a:extLst>
          </p:cNvPr>
          <p:cNvPicPr>
            <a:picLocks noChangeAspect="1"/>
          </p:cNvPicPr>
          <p:nvPr/>
        </p:nvPicPr>
        <p:blipFill>
          <a:blip r:embed="rId2"/>
          <a:stretch>
            <a:fillRect/>
          </a:stretch>
        </p:blipFill>
        <p:spPr>
          <a:xfrm>
            <a:off x="5927164" y="1624108"/>
            <a:ext cx="5700254" cy="3269263"/>
          </a:xfrm>
          <a:prstGeom prst="rect">
            <a:avLst/>
          </a:prstGeom>
        </p:spPr>
      </p:pic>
    </p:spTree>
    <p:extLst>
      <p:ext uri="{BB962C8B-B14F-4D97-AF65-F5344CB8AC3E}">
        <p14:creationId xmlns:p14="http://schemas.microsoft.com/office/powerpoint/2010/main" val="579632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r>
              <a:rPr lang="nl-NL" dirty="0"/>
              <a:t>Is there really a need for using both? It depends.</a:t>
            </a:r>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4672917" cy="4829080"/>
          </a:xfrm>
        </p:spPr>
        <p:txBody>
          <a:bodyPr/>
          <a:lstStyle/>
          <a:p>
            <a:pPr marL="285750" indent="-285750">
              <a:buFont typeface="Arial" panose="020B0604020202020204" pitchFamily="34" charset="0"/>
              <a:buChar char="•"/>
            </a:pPr>
            <a:r>
              <a:rPr lang="nl-NL" sz="1800" dirty="0"/>
              <a:t>Team OWL vs Team SHACL</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A common argument is that when you don’t need a rich model and never really use logical reasoning/inferencing, then modeling using only SHACL should be fine</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OWL vs</a:t>
            </a:r>
            <a:r>
              <a:rPr lang="nl-NL" i="1" dirty="0"/>
              <a:t> </a:t>
            </a:r>
            <a:r>
              <a:rPr lang="nl-NL" dirty="0"/>
              <a:t>SHACL</a:t>
            </a:r>
          </a:p>
        </p:txBody>
      </p:sp>
      <p:pic>
        <p:nvPicPr>
          <p:cNvPr id="6" name="Picture 5">
            <a:extLst>
              <a:ext uri="{FF2B5EF4-FFF2-40B4-BE49-F238E27FC236}">
                <a16:creationId xmlns:a16="http://schemas.microsoft.com/office/drawing/2014/main" id="{9A3DA8D4-D2E7-DF06-4D21-5D85BC95BC56}"/>
              </a:ext>
            </a:extLst>
          </p:cNvPr>
          <p:cNvPicPr>
            <a:picLocks noChangeAspect="1"/>
          </p:cNvPicPr>
          <p:nvPr/>
        </p:nvPicPr>
        <p:blipFill>
          <a:blip r:embed="rId2"/>
          <a:stretch>
            <a:fillRect/>
          </a:stretch>
        </p:blipFill>
        <p:spPr>
          <a:xfrm>
            <a:off x="5447928" y="194351"/>
            <a:ext cx="5916997" cy="3268082"/>
          </a:xfrm>
          <a:prstGeom prst="rect">
            <a:avLst/>
          </a:prstGeom>
        </p:spPr>
      </p:pic>
      <p:pic>
        <p:nvPicPr>
          <p:cNvPr id="8" name="Picture 7">
            <a:extLst>
              <a:ext uri="{FF2B5EF4-FFF2-40B4-BE49-F238E27FC236}">
                <a16:creationId xmlns:a16="http://schemas.microsoft.com/office/drawing/2014/main" id="{2BA42439-2EF2-5EE5-0CFA-B71F2B60011C}"/>
              </a:ext>
            </a:extLst>
          </p:cNvPr>
          <p:cNvPicPr>
            <a:picLocks noChangeAspect="1"/>
          </p:cNvPicPr>
          <p:nvPr/>
        </p:nvPicPr>
        <p:blipFill>
          <a:blip r:embed="rId3"/>
          <a:stretch>
            <a:fillRect/>
          </a:stretch>
        </p:blipFill>
        <p:spPr>
          <a:xfrm>
            <a:off x="5110336" y="2132856"/>
            <a:ext cx="6816080" cy="3481776"/>
          </a:xfrm>
          <a:prstGeom prst="rect">
            <a:avLst/>
          </a:prstGeom>
        </p:spPr>
      </p:pic>
      <p:pic>
        <p:nvPicPr>
          <p:cNvPr id="10" name="Picture 9">
            <a:extLst>
              <a:ext uri="{FF2B5EF4-FFF2-40B4-BE49-F238E27FC236}">
                <a16:creationId xmlns:a16="http://schemas.microsoft.com/office/drawing/2014/main" id="{134637D7-FCD4-B9FC-95B9-5AD3DA1468F1}"/>
              </a:ext>
            </a:extLst>
          </p:cNvPr>
          <p:cNvPicPr>
            <a:picLocks noChangeAspect="1"/>
          </p:cNvPicPr>
          <p:nvPr/>
        </p:nvPicPr>
        <p:blipFill>
          <a:blip r:embed="rId4"/>
          <a:stretch>
            <a:fillRect/>
          </a:stretch>
        </p:blipFill>
        <p:spPr>
          <a:xfrm>
            <a:off x="7429356" y="3298929"/>
            <a:ext cx="4526290" cy="3272800"/>
          </a:xfrm>
          <a:prstGeom prst="rect">
            <a:avLst/>
          </a:prstGeom>
        </p:spPr>
      </p:pic>
    </p:spTree>
    <p:extLst>
      <p:ext uri="{BB962C8B-B14F-4D97-AF65-F5344CB8AC3E}">
        <p14:creationId xmlns:p14="http://schemas.microsoft.com/office/powerpoint/2010/main" val="1221782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4744925" cy="4829080"/>
          </a:xfrm>
        </p:spPr>
        <p:txBody>
          <a:bodyPr/>
          <a:lstStyle/>
          <a:p>
            <a:pPr marL="285750" indent="-285750">
              <a:buFont typeface="Arial" panose="020B0604020202020204" pitchFamily="34" charset="0"/>
              <a:buChar char="•"/>
            </a:pPr>
            <a:r>
              <a:rPr lang="nl-NL" sz="1800" dirty="0"/>
              <a:t>When creating a domain ontology, it may be wise to adopt a foundational (aka upper level) ontology</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Dolce </a:t>
            </a:r>
          </a:p>
          <a:p>
            <a:pPr marL="466725" lvl="1" indent="-285750">
              <a:buFont typeface="Arial" panose="020B0604020202020204" pitchFamily="34" charset="0"/>
              <a:buChar char="•"/>
            </a:pPr>
            <a:r>
              <a:rPr lang="en-US" sz="1800" dirty="0"/>
              <a:t>Descriptive Ontology for Linguistic and Cognitive Engineering</a:t>
            </a:r>
          </a:p>
          <a:p>
            <a:pPr marL="285750" indent="-285750">
              <a:buFont typeface="Arial" panose="020B0604020202020204" pitchFamily="34" charset="0"/>
              <a:buChar char="•"/>
            </a:pPr>
            <a:r>
              <a:rPr lang="nl-NL" sz="1800" dirty="0"/>
              <a:t>BFO</a:t>
            </a:r>
          </a:p>
          <a:p>
            <a:pPr marL="466725" lvl="1" indent="-285750">
              <a:buFont typeface="Arial" panose="020B0604020202020204" pitchFamily="34" charset="0"/>
              <a:buChar char="•"/>
            </a:pPr>
            <a:r>
              <a:rPr lang="nl-NL" sz="1800" dirty="0"/>
              <a:t>Basic Formal Ontology</a:t>
            </a:r>
          </a:p>
          <a:p>
            <a:pPr marL="285750" indent="-285750">
              <a:buFont typeface="Arial" panose="020B0604020202020204" pitchFamily="34" charset="0"/>
              <a:buChar char="•"/>
            </a:pPr>
            <a:r>
              <a:rPr lang="nl-NL" sz="1800" dirty="0"/>
              <a:t>UFO/OntoUML</a:t>
            </a:r>
          </a:p>
          <a:p>
            <a:pPr marL="466725" lvl="1" indent="-285750">
              <a:buFont typeface="Arial" panose="020B0604020202020204" pitchFamily="34" charset="0"/>
              <a:buChar char="•"/>
            </a:pPr>
            <a:r>
              <a:rPr lang="nl-NL" sz="1800" dirty="0"/>
              <a:t>Unified Foundational Ontology</a:t>
            </a:r>
          </a:p>
          <a:p>
            <a:pPr marL="466725" lvl="1" indent="-285750">
              <a:buFont typeface="Arial" panose="020B0604020202020204" pitchFamily="34" charset="0"/>
              <a:buChar char="•"/>
            </a:pPr>
            <a:r>
              <a:rPr lang="en-US" sz="1800" dirty="0"/>
              <a:t>Often used in software engineering and enterprise modeling</a:t>
            </a:r>
            <a:endParaRPr lang="nl-NL" sz="1800" dirty="0"/>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levant developments/frameworks: Foundational ontologies such as BFO, DOLCE and OntoUML/UFO</a:t>
            </a:r>
          </a:p>
        </p:txBody>
      </p:sp>
      <p:pic>
        <p:nvPicPr>
          <p:cNvPr id="1026" name="Picture 2">
            <a:extLst>
              <a:ext uri="{FF2B5EF4-FFF2-40B4-BE49-F238E27FC236}">
                <a16:creationId xmlns:a16="http://schemas.microsoft.com/office/drawing/2014/main" id="{355B9B1E-BC51-D9CC-38FB-34A8FE0DC8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12224" y="834505"/>
            <a:ext cx="3376774" cy="264413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AutoShape 8" descr="Excerpt from the DOLCE ontology ">
            <a:extLst>
              <a:ext uri="{FF2B5EF4-FFF2-40B4-BE49-F238E27FC236}">
                <a16:creationId xmlns:a16="http://schemas.microsoft.com/office/drawing/2014/main" id="{AC4467F3-790D-3175-15C8-E121CE0DA3A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9" name="Picture 8" descr="A diagram of a diagram&#10;&#10;Description automatically generated">
            <a:extLst>
              <a:ext uri="{FF2B5EF4-FFF2-40B4-BE49-F238E27FC236}">
                <a16:creationId xmlns:a16="http://schemas.microsoft.com/office/drawing/2014/main" id="{CA92B227-3E0C-BDC2-3C9F-135BCF80BCB9}"/>
              </a:ext>
            </a:extLst>
          </p:cNvPr>
          <p:cNvPicPr>
            <a:picLocks noChangeAspect="1"/>
          </p:cNvPicPr>
          <p:nvPr/>
        </p:nvPicPr>
        <p:blipFill>
          <a:blip r:embed="rId3"/>
          <a:stretch>
            <a:fillRect/>
          </a:stretch>
        </p:blipFill>
        <p:spPr>
          <a:xfrm>
            <a:off x="5303912" y="3289450"/>
            <a:ext cx="4797407" cy="2501652"/>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BA975403-A2F3-ABE5-9392-0CD5B70157A7}"/>
              </a:ext>
            </a:extLst>
          </p:cNvPr>
          <p:cNvPicPr>
            <a:picLocks noChangeAspect="1"/>
          </p:cNvPicPr>
          <p:nvPr/>
        </p:nvPicPr>
        <p:blipFill>
          <a:blip r:embed="rId4"/>
          <a:stretch>
            <a:fillRect/>
          </a:stretch>
        </p:blipFill>
        <p:spPr>
          <a:xfrm>
            <a:off x="8366400" y="3717032"/>
            <a:ext cx="3747980" cy="3034576"/>
          </a:xfrm>
          <a:prstGeom prst="rect">
            <a:avLst/>
          </a:prstGeom>
        </p:spPr>
      </p:pic>
    </p:spTree>
    <p:extLst>
      <p:ext uri="{BB962C8B-B14F-4D97-AF65-F5344CB8AC3E}">
        <p14:creationId xmlns:p14="http://schemas.microsoft.com/office/powerpoint/2010/main" val="173374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dirty="0"/>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4888941" cy="4829080"/>
          </a:xfrm>
        </p:spPr>
        <p:txBody>
          <a:bodyPr/>
          <a:lstStyle/>
          <a:p>
            <a:pPr marL="285750" indent="-285750">
              <a:buFont typeface="Arial" panose="020B0604020202020204" pitchFamily="34" charset="0"/>
              <a:buChar char="•"/>
            </a:pPr>
            <a:r>
              <a:rPr lang="nl-NL" sz="1800" dirty="0"/>
              <a:t>Linked Data increasingly important for the Dutch public domain</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levant developments/frameworks: MIM and Reference Architecture 2030</a:t>
            </a:r>
          </a:p>
        </p:txBody>
      </p:sp>
      <p:pic>
        <p:nvPicPr>
          <p:cNvPr id="6" name="Picture 5">
            <a:extLst>
              <a:ext uri="{FF2B5EF4-FFF2-40B4-BE49-F238E27FC236}">
                <a16:creationId xmlns:a16="http://schemas.microsoft.com/office/drawing/2014/main" id="{6F204911-DFCE-34D5-E8D4-DCCF11955F44}"/>
              </a:ext>
            </a:extLst>
          </p:cNvPr>
          <p:cNvPicPr>
            <a:picLocks noChangeAspect="1"/>
          </p:cNvPicPr>
          <p:nvPr/>
        </p:nvPicPr>
        <p:blipFill>
          <a:blip r:embed="rId2"/>
          <a:stretch>
            <a:fillRect/>
          </a:stretch>
        </p:blipFill>
        <p:spPr>
          <a:xfrm>
            <a:off x="1127448" y="3648120"/>
            <a:ext cx="6533582" cy="3068960"/>
          </a:xfrm>
          <a:prstGeom prst="rect">
            <a:avLst/>
          </a:prstGeom>
        </p:spPr>
      </p:pic>
      <p:pic>
        <p:nvPicPr>
          <p:cNvPr id="8" name="Picture 7">
            <a:extLst>
              <a:ext uri="{FF2B5EF4-FFF2-40B4-BE49-F238E27FC236}">
                <a16:creationId xmlns:a16="http://schemas.microsoft.com/office/drawing/2014/main" id="{F8C3482A-2120-C9C0-CCF2-50F6D7F203C7}"/>
              </a:ext>
            </a:extLst>
          </p:cNvPr>
          <p:cNvPicPr>
            <a:picLocks noChangeAspect="1"/>
          </p:cNvPicPr>
          <p:nvPr/>
        </p:nvPicPr>
        <p:blipFill>
          <a:blip r:embed="rId3"/>
          <a:stretch>
            <a:fillRect/>
          </a:stretch>
        </p:blipFill>
        <p:spPr>
          <a:xfrm>
            <a:off x="5919177" y="1250710"/>
            <a:ext cx="5979255" cy="3679541"/>
          </a:xfrm>
          <a:prstGeom prst="rect">
            <a:avLst/>
          </a:prstGeom>
        </p:spPr>
      </p:pic>
    </p:spTree>
    <p:extLst>
      <p:ext uri="{BB962C8B-B14F-4D97-AF65-F5344CB8AC3E}">
        <p14:creationId xmlns:p14="http://schemas.microsoft.com/office/powerpoint/2010/main" val="161077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dirty="0"/>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4888941" cy="4829080"/>
          </a:xfrm>
        </p:spPr>
        <p:txBody>
          <a:bodyPr/>
          <a:lstStyle/>
          <a:p>
            <a:pPr marL="285750" indent="-285750">
              <a:buFont typeface="Arial" panose="020B0604020202020204" pitchFamily="34" charset="0"/>
              <a:buChar char="•"/>
            </a:pPr>
            <a:r>
              <a:rPr lang="nl-NL" sz="1800" dirty="0"/>
              <a:t>OWL and SHACL mentioned in Data Spaces Blueprint as published by DSSC</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levant developments/frameworks: Data Spaces / Collaborative Data Ecosytems</a:t>
            </a:r>
          </a:p>
        </p:txBody>
      </p:sp>
      <p:pic>
        <p:nvPicPr>
          <p:cNvPr id="7" name="Picture 6">
            <a:hlinkClick r:id="rId2"/>
            <a:extLst>
              <a:ext uri="{FF2B5EF4-FFF2-40B4-BE49-F238E27FC236}">
                <a16:creationId xmlns:a16="http://schemas.microsoft.com/office/drawing/2014/main" id="{F42182D4-4485-62CB-D1B8-A3FA526FEC67}"/>
              </a:ext>
            </a:extLst>
          </p:cNvPr>
          <p:cNvPicPr>
            <a:picLocks noChangeAspect="1"/>
          </p:cNvPicPr>
          <p:nvPr/>
        </p:nvPicPr>
        <p:blipFill>
          <a:blip r:embed="rId3"/>
          <a:stretch>
            <a:fillRect/>
          </a:stretch>
        </p:blipFill>
        <p:spPr>
          <a:xfrm>
            <a:off x="4223792" y="2196565"/>
            <a:ext cx="2808312" cy="4401085"/>
          </a:xfrm>
          <a:prstGeom prst="rect">
            <a:avLst/>
          </a:prstGeom>
        </p:spPr>
      </p:pic>
      <p:pic>
        <p:nvPicPr>
          <p:cNvPr id="12" name="Picture 11">
            <a:extLst>
              <a:ext uri="{FF2B5EF4-FFF2-40B4-BE49-F238E27FC236}">
                <a16:creationId xmlns:a16="http://schemas.microsoft.com/office/drawing/2014/main" id="{9513EC18-FCCF-FF12-BFEF-4DC09D04B0B2}"/>
              </a:ext>
            </a:extLst>
          </p:cNvPr>
          <p:cNvPicPr>
            <a:picLocks noChangeAspect="1"/>
          </p:cNvPicPr>
          <p:nvPr/>
        </p:nvPicPr>
        <p:blipFill>
          <a:blip r:embed="rId4"/>
          <a:stretch>
            <a:fillRect/>
          </a:stretch>
        </p:blipFill>
        <p:spPr>
          <a:xfrm>
            <a:off x="6384032" y="2946276"/>
            <a:ext cx="5685270" cy="3546525"/>
          </a:xfrm>
          <a:prstGeom prst="rect">
            <a:avLst/>
          </a:prstGeom>
        </p:spPr>
      </p:pic>
    </p:spTree>
    <p:extLst>
      <p:ext uri="{BB962C8B-B14F-4D97-AF65-F5344CB8AC3E}">
        <p14:creationId xmlns:p14="http://schemas.microsoft.com/office/powerpoint/2010/main" val="519762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p:txBody>
          <a:bodyPr/>
          <a:lstStyle/>
          <a:p>
            <a:pPr marL="285750" indent="-285750">
              <a:buFont typeface="Arial" panose="020B0604020202020204" pitchFamily="34" charset="0"/>
              <a:buChar char="•"/>
            </a:pPr>
            <a:r>
              <a:rPr lang="nl-NL" sz="1800" dirty="0">
                <a:hlinkClick r:id="rId2"/>
              </a:rPr>
              <a:t>https://www.w3.org/TR/owl2-syntax/</a:t>
            </a:r>
          </a:p>
          <a:p>
            <a:pPr marL="285750" indent="-285750">
              <a:buFont typeface="Arial" panose="020B0604020202020204" pitchFamily="34" charset="0"/>
              <a:buChar char="•"/>
            </a:pPr>
            <a:r>
              <a:rPr lang="nl-NL" sz="1800" dirty="0">
                <a:hlinkClick r:id="rId2"/>
              </a:rPr>
              <a:t>https://www.w3.org/TR/shacl/</a:t>
            </a:r>
          </a:p>
          <a:p>
            <a:pPr marL="285750" indent="-285750">
              <a:buFont typeface="Arial" panose="020B0604020202020204" pitchFamily="34" charset="0"/>
              <a:buChar char="•"/>
            </a:pPr>
            <a:r>
              <a:rPr lang="nl-NL" sz="1800" dirty="0">
                <a:hlinkClick r:id="rId2"/>
              </a:rPr>
              <a:t>https://spinrdf.org/shacl-and-owl.html</a:t>
            </a:r>
            <a:endParaRPr lang="nl-NL" sz="1800" dirty="0"/>
          </a:p>
          <a:p>
            <a:pPr marL="285750" indent="-285750">
              <a:buFont typeface="Arial" panose="020B0604020202020204" pitchFamily="34" charset="0"/>
              <a:buChar char="•"/>
            </a:pPr>
            <a:r>
              <a:rPr lang="nl-NL" sz="1800" dirty="0">
                <a:hlinkClick r:id="rId3"/>
              </a:rPr>
              <a:t>https://medium.com/the-semantic-data-practitioner/diving-into-the-deep-end-of-rdf-owl-shacl-and-sparql-vs-terminusdb-data-products-9fe26bddab33</a:t>
            </a:r>
            <a:endParaRPr lang="nl-NL" sz="1800" dirty="0"/>
          </a:p>
          <a:p>
            <a:pPr marL="285750" indent="-285750">
              <a:buFont typeface="Arial" panose="020B0604020202020204" pitchFamily="34" charset="0"/>
              <a:buChar char="•"/>
            </a:pPr>
            <a:r>
              <a:rPr lang="nl-NL" sz="1800" dirty="0">
                <a:hlinkClick r:id="rId4"/>
              </a:rPr>
              <a:t>https://medium.com/fluree/what-is-shacl-with-examples-2697f659d465</a:t>
            </a:r>
            <a:endParaRPr lang="nl-NL" sz="1800" dirty="0"/>
          </a:p>
          <a:p>
            <a:pPr marL="285750" indent="-285750">
              <a:buFont typeface="Arial" panose="020B0604020202020204" pitchFamily="34" charset="0"/>
              <a:buChar char="•"/>
            </a:pPr>
            <a:r>
              <a:rPr lang="nl-NL" sz="1800" dirty="0">
                <a:hlinkClick r:id="rId5"/>
              </a:rPr>
              <a:t>https://www.ontotext.com/knowledgehub/fundamentals/what-is-shacl/</a:t>
            </a:r>
            <a:endParaRPr lang="nl-NL" sz="1800" dirty="0"/>
          </a:p>
          <a:p>
            <a:pPr marL="285750" indent="-285750">
              <a:buFont typeface="Arial" panose="020B0604020202020204" pitchFamily="34" charset="0"/>
              <a:buChar char="•"/>
            </a:pPr>
            <a:r>
              <a:rPr lang="nl-NL" sz="1800" dirty="0">
                <a:hlinkClick r:id="rId6"/>
              </a:rPr>
              <a:t>https://www.bobdc.com/blog/dontneedowl/</a:t>
            </a:r>
            <a:endParaRPr lang="nl-NL" sz="1800" dirty="0"/>
          </a:p>
          <a:p>
            <a:pPr marL="285750" indent="-285750">
              <a:buFont typeface="Arial" panose="020B0604020202020204" pitchFamily="34" charset="0"/>
              <a:buChar char="•"/>
            </a:pPr>
            <a:r>
              <a:rPr lang="nl-NL" sz="1800" dirty="0">
                <a:hlinkClick r:id="rId7"/>
              </a:rPr>
              <a:t>https://legacy.triply.cc/blog/2021-08-why-we-use-owl/</a:t>
            </a: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hlinkClick r:id="rId8"/>
              </a:rPr>
              <a:t>https://medium.com/@nfigay/do-you-know-what-upper-ontologies-are-and-the-value-it-brings-october-2021-5f43ee5b1553</a:t>
            </a: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ferences / Recommend reading</a:t>
            </a:r>
          </a:p>
        </p:txBody>
      </p:sp>
    </p:spTree>
    <p:extLst>
      <p:ext uri="{BB962C8B-B14F-4D97-AF65-F5344CB8AC3E}">
        <p14:creationId xmlns:p14="http://schemas.microsoft.com/office/powerpoint/2010/main" val="858775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86D751-FD46-EE95-8250-CB79BABCC709}"/>
              </a:ext>
            </a:extLst>
          </p:cNvPr>
          <p:cNvSpPr>
            <a:spLocks noGrp="1"/>
          </p:cNvSpPr>
          <p:nvPr>
            <p:ph type="body" sz="quarter" idx="10"/>
          </p:nvPr>
        </p:nvSpPr>
        <p:spPr>
          <a:xfrm>
            <a:off x="427038" y="3428206"/>
            <a:ext cx="11356975" cy="1107996"/>
          </a:xfrm>
        </p:spPr>
        <p:txBody>
          <a:bodyPr/>
          <a:lstStyle/>
          <a:p>
            <a:r>
              <a:rPr lang="nl-NL" dirty="0"/>
              <a:t>Deep Dive: OWL</a:t>
            </a:r>
          </a:p>
        </p:txBody>
      </p:sp>
    </p:spTree>
    <p:extLst>
      <p:ext uri="{BB962C8B-B14F-4D97-AF65-F5344CB8AC3E}">
        <p14:creationId xmlns:p14="http://schemas.microsoft.com/office/powerpoint/2010/main" val="32840379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r>
              <a:rPr lang="nl-NL" dirty="0"/>
              <a:t>In Protege Desktop</a:t>
            </a:r>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p:txBody>
          <a:bodyPr/>
          <a:lstStyle/>
          <a:p>
            <a:pPr marL="285750" indent="-285750">
              <a:buFont typeface="Arial" panose="020B0604020202020204" pitchFamily="34" charset="0"/>
              <a:buChar char="•"/>
            </a:pPr>
            <a:r>
              <a:rPr lang="nl-NL" sz="1800" dirty="0">
                <a:hlinkClick r:id="rId2"/>
              </a:rPr>
              <a:t>https://www.michaeldebellis.com/post/new-protege-pizza-tutorial</a:t>
            </a:r>
            <a:endParaRPr lang="nl-NL" sz="1800" dirty="0"/>
          </a:p>
          <a:p>
            <a:pPr marL="285750" indent="-285750">
              <a:buFont typeface="Arial" panose="020B0604020202020204" pitchFamily="34" charset="0"/>
              <a:buChar char="•"/>
            </a:pPr>
            <a:r>
              <a:rPr lang="nl-NL" sz="1800" dirty="0"/>
              <a:t>We will do Chapter 4 and 5 together</a:t>
            </a:r>
          </a:p>
          <a:p>
            <a:pPr marL="285750" indent="-285750">
              <a:buFont typeface="Arial" panose="020B0604020202020204" pitchFamily="34" charset="0"/>
              <a:buChar char="•"/>
            </a:pPr>
            <a:r>
              <a:rPr lang="nl-NL" sz="1800" dirty="0"/>
              <a:t>You are encouraged to complete the tutorial on your own after the sessions</a:t>
            </a:r>
          </a:p>
          <a:p>
            <a:pPr marL="285750"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Pizza Ontology tutorial</a:t>
            </a:r>
          </a:p>
        </p:txBody>
      </p:sp>
    </p:spTree>
    <p:extLst>
      <p:ext uri="{BB962C8B-B14F-4D97-AF65-F5344CB8AC3E}">
        <p14:creationId xmlns:p14="http://schemas.microsoft.com/office/powerpoint/2010/main" val="4829405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4528901" cy="4829080"/>
          </a:xfrm>
        </p:spPr>
        <p:txBody>
          <a:bodyPr/>
          <a:lstStyle/>
          <a:p>
            <a:pPr marL="285750" indent="-285750">
              <a:buFont typeface="Arial" panose="020B0604020202020204" pitchFamily="34" charset="0"/>
              <a:buChar char="•"/>
            </a:pPr>
            <a:r>
              <a:rPr lang="nl-NL" sz="1800" dirty="0"/>
              <a:t>Open Source</a:t>
            </a:r>
          </a:p>
          <a:p>
            <a:pPr marL="285750" indent="-285750">
              <a:buFont typeface="Arial" panose="020B0604020202020204" pitchFamily="34" charset="0"/>
              <a:buChar char="•"/>
            </a:pPr>
            <a:r>
              <a:rPr lang="nl-NL" sz="1800" dirty="0"/>
              <a:t>Developed by Stanford University</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Protege desktop allows reasoning</a:t>
            </a:r>
          </a:p>
          <a:p>
            <a:pPr marL="285750" indent="-285750">
              <a:buFont typeface="Arial" panose="020B0604020202020204" pitchFamily="34" charset="0"/>
              <a:buChar char="•"/>
            </a:pPr>
            <a:r>
              <a:rPr lang="nl-NL" sz="1800" dirty="0"/>
              <a:t>Also web version available, but it does not have reasoning capabilities</a:t>
            </a:r>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r>
              <a:rPr lang="nl-NL" sz="1800" dirty="0"/>
              <a:t>Manchester OWL Syntax for class expressions</a:t>
            </a:r>
          </a:p>
          <a:p>
            <a:pPr marL="466725" lvl="1" indent="-285750">
              <a:buFont typeface="Arial" panose="020B0604020202020204" pitchFamily="34" charset="0"/>
              <a:buChar char="•"/>
            </a:pPr>
            <a:r>
              <a:rPr lang="nl-NL" sz="1800" dirty="0">
                <a:hlinkClick r:id="rId2"/>
              </a:rPr>
              <a:t>https://protegeproject.github.io/protege/class-expression-syntax/</a:t>
            </a:r>
            <a:r>
              <a:rPr lang="nl-NL" sz="1800" dirty="0"/>
              <a:t> </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About Protege</a:t>
            </a:r>
          </a:p>
        </p:txBody>
      </p:sp>
      <p:pic>
        <p:nvPicPr>
          <p:cNvPr id="6" name="Picture 5">
            <a:extLst>
              <a:ext uri="{FF2B5EF4-FFF2-40B4-BE49-F238E27FC236}">
                <a16:creationId xmlns:a16="http://schemas.microsoft.com/office/drawing/2014/main" id="{9F3C3C7C-CC9D-D7B7-007E-57EF111B7037}"/>
              </a:ext>
            </a:extLst>
          </p:cNvPr>
          <p:cNvPicPr>
            <a:picLocks noChangeAspect="1"/>
          </p:cNvPicPr>
          <p:nvPr/>
        </p:nvPicPr>
        <p:blipFill>
          <a:blip r:embed="rId3"/>
          <a:stretch>
            <a:fillRect/>
          </a:stretch>
        </p:blipFill>
        <p:spPr>
          <a:xfrm>
            <a:off x="4952825" y="1624108"/>
            <a:ext cx="6959266" cy="2885012"/>
          </a:xfrm>
          <a:prstGeom prst="rect">
            <a:avLst/>
          </a:prstGeom>
        </p:spPr>
      </p:pic>
    </p:spTree>
    <p:extLst>
      <p:ext uri="{BB962C8B-B14F-4D97-AF65-F5344CB8AC3E}">
        <p14:creationId xmlns:p14="http://schemas.microsoft.com/office/powerpoint/2010/main" val="658278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3E7838F-2121-52A0-D4FC-2F28A30CCE2B}"/>
              </a:ext>
            </a:extLst>
          </p:cNvPr>
          <p:cNvSpPr>
            <a:spLocks noGrp="1"/>
          </p:cNvSpPr>
          <p:nvPr>
            <p:ph type="body" sz="quarter" idx="17"/>
          </p:nvPr>
        </p:nvSpPr>
        <p:spPr/>
        <p:txBody>
          <a:bodyPr/>
          <a:lstStyle/>
          <a:p>
            <a:pPr marL="285750" indent="-285750">
              <a:buFont typeface="Arial" panose="020B0604020202020204" pitchFamily="34" charset="0"/>
              <a:buChar char="•"/>
            </a:pPr>
            <a:r>
              <a:rPr lang="nl-NL" sz="1800" dirty="0"/>
              <a:t>Let’s ask ChatGPT/CoPilot to help us create an OWL ontology in Protege Desktop about ...</a:t>
            </a:r>
          </a:p>
          <a:p>
            <a:pPr marL="466725" lvl="1" indent="-285750">
              <a:buFont typeface="Arial" panose="020B0604020202020204" pitchFamily="34" charset="0"/>
              <a:buChar char="•"/>
            </a:pPr>
            <a:endParaRPr lang="nl-NL" sz="1800" dirty="0"/>
          </a:p>
          <a:p>
            <a:pPr marL="466725" lvl="1" indent="-285750">
              <a:buFont typeface="Arial" panose="020B0604020202020204" pitchFamily="34" charset="0"/>
              <a:buChar char="•"/>
            </a:pPr>
            <a:r>
              <a:rPr lang="nl-NL" sz="1800" dirty="0"/>
              <a:t>A family tree (e.g. Person, Male/Female, hasChild, hasSibling, Uncle)</a:t>
            </a:r>
          </a:p>
          <a:p>
            <a:pPr marL="466725" lvl="1" indent="-285750">
              <a:buFont typeface="Arial" panose="020B0604020202020204" pitchFamily="34" charset="0"/>
              <a:buChar char="•"/>
            </a:pPr>
            <a:r>
              <a:rPr lang="nl-NL" sz="1800" dirty="0"/>
              <a:t>An office setting</a:t>
            </a:r>
          </a:p>
          <a:p>
            <a:pPr marL="466725" lvl="1" indent="-285750">
              <a:buFont typeface="Arial" panose="020B0604020202020204" pitchFamily="34" charset="0"/>
              <a:buChar char="•"/>
            </a:pPr>
            <a:r>
              <a:rPr lang="nl-NL" sz="1800" dirty="0"/>
              <a:t>...</a:t>
            </a:r>
          </a:p>
          <a:p>
            <a:pPr marL="466725" lvl="1"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98107F0C-29B4-53BA-C9C5-6E06CD1E1D0B}"/>
              </a:ext>
            </a:extLst>
          </p:cNvPr>
          <p:cNvSpPr>
            <a:spLocks noGrp="1"/>
          </p:cNvSpPr>
          <p:nvPr>
            <p:ph type="title"/>
          </p:nvPr>
        </p:nvSpPr>
        <p:spPr/>
        <p:txBody>
          <a:bodyPr/>
          <a:lstStyle/>
          <a:p>
            <a:r>
              <a:rPr lang="nl-NL" dirty="0"/>
              <a:t>If we have time: let’s make our own ontology</a:t>
            </a:r>
          </a:p>
        </p:txBody>
      </p:sp>
    </p:spTree>
    <p:extLst>
      <p:ext uri="{BB962C8B-B14F-4D97-AF65-F5344CB8AC3E}">
        <p14:creationId xmlns:p14="http://schemas.microsoft.com/office/powerpoint/2010/main" val="332585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86D751-FD46-EE95-8250-CB79BABCC709}"/>
              </a:ext>
            </a:extLst>
          </p:cNvPr>
          <p:cNvSpPr>
            <a:spLocks noGrp="1"/>
          </p:cNvSpPr>
          <p:nvPr>
            <p:ph type="body" sz="quarter" idx="10"/>
          </p:nvPr>
        </p:nvSpPr>
        <p:spPr>
          <a:xfrm>
            <a:off x="427038" y="3428206"/>
            <a:ext cx="11356975" cy="1107996"/>
          </a:xfrm>
        </p:spPr>
        <p:txBody>
          <a:bodyPr/>
          <a:lstStyle/>
          <a:p>
            <a:r>
              <a:rPr lang="nl-NL" dirty="0"/>
              <a:t>Introductions</a:t>
            </a:r>
          </a:p>
        </p:txBody>
      </p:sp>
    </p:spTree>
    <p:extLst>
      <p:ext uri="{BB962C8B-B14F-4D97-AF65-F5344CB8AC3E}">
        <p14:creationId xmlns:p14="http://schemas.microsoft.com/office/powerpoint/2010/main" val="38176067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p:txBody>
          <a:bodyPr/>
          <a:lstStyle/>
          <a:p>
            <a:pPr marL="285750" indent="-285750">
              <a:buFont typeface="Arial" panose="020B0604020202020204" pitchFamily="34" charset="0"/>
              <a:buChar char="•"/>
            </a:pPr>
            <a:r>
              <a:rPr lang="nl-NL" sz="1800" dirty="0">
                <a:hlinkClick r:id="rId2"/>
              </a:rPr>
              <a:t>https://www.michaeldebellis.com/post/new-protege-pizza-tutorial</a:t>
            </a:r>
            <a:endParaRPr lang="nl-NL" sz="1800" dirty="0"/>
          </a:p>
          <a:p>
            <a:pPr marL="285750" indent="-285750">
              <a:buFont typeface="Arial" panose="020B0604020202020204" pitchFamily="34" charset="0"/>
              <a:buChar char="•"/>
            </a:pPr>
            <a:r>
              <a:rPr lang="nl-NL" sz="1800" dirty="0">
                <a:hlinkClick r:id="rId3"/>
              </a:rPr>
              <a:t>https://drive.google.com/file/d/1A3Y8T6nIfXQ_UQOpCAr_HFSCwpTqELeP/view</a:t>
            </a:r>
            <a:endParaRPr lang="nl-NL" sz="1800" dirty="0"/>
          </a:p>
          <a:p>
            <a:pPr marL="285750"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ferences / Recommend reading</a:t>
            </a:r>
          </a:p>
        </p:txBody>
      </p:sp>
    </p:spTree>
    <p:extLst>
      <p:ext uri="{BB962C8B-B14F-4D97-AF65-F5344CB8AC3E}">
        <p14:creationId xmlns:p14="http://schemas.microsoft.com/office/powerpoint/2010/main" val="33508761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86D751-FD46-EE95-8250-CB79BABCC709}"/>
              </a:ext>
            </a:extLst>
          </p:cNvPr>
          <p:cNvSpPr>
            <a:spLocks noGrp="1"/>
          </p:cNvSpPr>
          <p:nvPr>
            <p:ph type="body" sz="quarter" idx="10"/>
          </p:nvPr>
        </p:nvSpPr>
        <p:spPr>
          <a:xfrm>
            <a:off x="427038" y="3428206"/>
            <a:ext cx="11356975" cy="1107996"/>
          </a:xfrm>
        </p:spPr>
        <p:txBody>
          <a:bodyPr/>
          <a:lstStyle/>
          <a:p>
            <a:r>
              <a:rPr lang="nl-NL" dirty="0"/>
              <a:t>Deep dive: SHACL</a:t>
            </a:r>
          </a:p>
        </p:txBody>
      </p:sp>
    </p:spTree>
    <p:extLst>
      <p:ext uri="{BB962C8B-B14F-4D97-AF65-F5344CB8AC3E}">
        <p14:creationId xmlns:p14="http://schemas.microsoft.com/office/powerpoint/2010/main" val="3005709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6401109" cy="4829080"/>
          </a:xfrm>
        </p:spPr>
        <p:txBody>
          <a:bodyPr/>
          <a:lstStyle/>
          <a:p>
            <a:pPr marL="285750" indent="-285750">
              <a:buFont typeface="Arial" panose="020B0604020202020204" pitchFamily="34" charset="0"/>
              <a:buChar char="•"/>
            </a:pPr>
            <a:r>
              <a:rPr lang="nl-NL" sz="1800" dirty="0"/>
              <a:t>Free HTML version: </a:t>
            </a:r>
            <a:r>
              <a:rPr lang="nl-NL" sz="2400" b="0" i="0" dirty="0">
                <a:solidFill>
                  <a:srgbClr val="000000"/>
                </a:solidFill>
                <a:effectLst/>
                <a:latin typeface="Times New Roman" panose="02020603050405020304" pitchFamily="18" charset="0"/>
              </a:rPr>
              <a:t> </a:t>
            </a:r>
            <a:r>
              <a:rPr lang="nl-NL" sz="1800" b="0" i="0" dirty="0">
                <a:effectLst/>
                <a:latin typeface="Courier New" panose="02070309020205020404" pitchFamily="49" charset="0"/>
                <a:hlinkClick r:id="rId2"/>
              </a:rPr>
              <a:t>http://book.validatingrdf.com</a:t>
            </a:r>
            <a:r>
              <a:rPr lang="nl-NL" dirty="0"/>
              <a:t> </a:t>
            </a:r>
            <a:r>
              <a:rPr lang="nl-NL" sz="1800" dirty="0"/>
              <a:t>	</a:t>
            </a:r>
          </a:p>
          <a:p>
            <a:pPr marL="285750" indent="-285750">
              <a:buFont typeface="Arial" panose="020B0604020202020204" pitchFamily="34" charset="0"/>
              <a:buChar char="•"/>
            </a:pPr>
            <a:r>
              <a:rPr lang="nl-NL" sz="1800" dirty="0"/>
              <a:t>We’ll do parts of Chapter 5 together</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Validating RDF Data</a:t>
            </a:r>
          </a:p>
        </p:txBody>
      </p:sp>
      <p:pic>
        <p:nvPicPr>
          <p:cNvPr id="6" name="Picture 5">
            <a:extLst>
              <a:ext uri="{FF2B5EF4-FFF2-40B4-BE49-F238E27FC236}">
                <a16:creationId xmlns:a16="http://schemas.microsoft.com/office/drawing/2014/main" id="{E308682A-1E36-1BD2-3947-22ADFB1C6F9F}"/>
              </a:ext>
            </a:extLst>
          </p:cNvPr>
          <p:cNvPicPr>
            <a:picLocks noChangeAspect="1"/>
          </p:cNvPicPr>
          <p:nvPr/>
        </p:nvPicPr>
        <p:blipFill>
          <a:blip r:embed="rId3"/>
          <a:stretch>
            <a:fillRect/>
          </a:stretch>
        </p:blipFill>
        <p:spPr>
          <a:xfrm>
            <a:off x="8178996" y="1639046"/>
            <a:ext cx="3244388" cy="4238267"/>
          </a:xfrm>
          <a:prstGeom prst="rect">
            <a:avLst/>
          </a:prstGeom>
        </p:spPr>
      </p:pic>
    </p:spTree>
    <p:extLst>
      <p:ext uri="{BB962C8B-B14F-4D97-AF65-F5344CB8AC3E}">
        <p14:creationId xmlns:p14="http://schemas.microsoft.com/office/powerpoint/2010/main" val="47781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a:xfrm>
            <a:off x="414971" y="1624108"/>
            <a:ext cx="5176973" cy="4829080"/>
          </a:xfrm>
        </p:spPr>
        <p:txBody>
          <a:bodyPr/>
          <a:lstStyle/>
          <a:p>
            <a:r>
              <a:rPr lang="nl-NL" dirty="0"/>
              <a:t>Let’s open `shacl-notebook.ipynb`</a:t>
            </a:r>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Notebook: shacl-notebook.ipynb</a:t>
            </a:r>
          </a:p>
        </p:txBody>
      </p:sp>
      <p:pic>
        <p:nvPicPr>
          <p:cNvPr id="6" name="Picture 5">
            <a:extLst>
              <a:ext uri="{FF2B5EF4-FFF2-40B4-BE49-F238E27FC236}">
                <a16:creationId xmlns:a16="http://schemas.microsoft.com/office/drawing/2014/main" id="{3C720F69-5988-D586-7C60-F6034C94B5F6}"/>
              </a:ext>
            </a:extLst>
          </p:cNvPr>
          <p:cNvPicPr>
            <a:picLocks noChangeAspect="1"/>
          </p:cNvPicPr>
          <p:nvPr/>
        </p:nvPicPr>
        <p:blipFill>
          <a:blip r:embed="rId2"/>
          <a:stretch>
            <a:fillRect/>
          </a:stretch>
        </p:blipFill>
        <p:spPr>
          <a:xfrm>
            <a:off x="4943872" y="1340768"/>
            <a:ext cx="7006787" cy="4829080"/>
          </a:xfrm>
          <a:prstGeom prst="rect">
            <a:avLst/>
          </a:prstGeom>
        </p:spPr>
      </p:pic>
    </p:spTree>
    <p:extLst>
      <p:ext uri="{BB962C8B-B14F-4D97-AF65-F5344CB8AC3E}">
        <p14:creationId xmlns:p14="http://schemas.microsoft.com/office/powerpoint/2010/main" val="4678615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90110-B121-C3AD-4E6D-B4131F3B595E}"/>
              </a:ext>
            </a:extLst>
          </p:cNvPr>
          <p:cNvSpPr>
            <a:spLocks noGrp="1"/>
          </p:cNvSpPr>
          <p:nvPr>
            <p:ph type="body" sz="quarter" idx="15"/>
          </p:nvPr>
        </p:nvSpPr>
        <p:spPr/>
        <p:txBody>
          <a:bodyPr/>
          <a:lstStyle/>
          <a:p>
            <a:endParaRPr lang="nl-NL"/>
          </a:p>
        </p:txBody>
      </p:sp>
      <p:sp>
        <p:nvSpPr>
          <p:cNvPr id="3" name="Text Placeholder 2">
            <a:extLst>
              <a:ext uri="{FF2B5EF4-FFF2-40B4-BE49-F238E27FC236}">
                <a16:creationId xmlns:a16="http://schemas.microsoft.com/office/drawing/2014/main" id="{70440F56-B14B-014F-B750-5E1D7B85286E}"/>
              </a:ext>
            </a:extLst>
          </p:cNvPr>
          <p:cNvSpPr>
            <a:spLocks noGrp="1"/>
          </p:cNvSpPr>
          <p:nvPr>
            <p:ph type="body" sz="quarter" idx="17"/>
          </p:nvPr>
        </p:nvSpPr>
        <p:spPr/>
        <p:txBody>
          <a:bodyPr/>
          <a:lstStyle/>
          <a:p>
            <a:pPr marL="285750" indent="-285750">
              <a:buFont typeface="Arial" panose="020B0604020202020204" pitchFamily="34" charset="0"/>
              <a:buChar char="•"/>
            </a:pPr>
            <a:r>
              <a:rPr lang="nl-NL" sz="1800" dirty="0">
                <a:hlinkClick r:id="rId2"/>
              </a:rPr>
              <a:t>https://www.w3.org/TR/shacl/</a:t>
            </a:r>
            <a:endParaRPr lang="nl-NL" sz="1800" dirty="0"/>
          </a:p>
          <a:p>
            <a:pPr marL="285750" indent="-285750">
              <a:buFont typeface="Arial" panose="020B0604020202020204" pitchFamily="34" charset="0"/>
              <a:buChar char="•"/>
            </a:pPr>
            <a:r>
              <a:rPr lang="nl-NL" sz="1800" dirty="0">
                <a:hlinkClick r:id="rId3"/>
              </a:rPr>
              <a:t>https://book.validatingrdf.com/</a:t>
            </a:r>
            <a:endParaRPr lang="nl-NL" sz="1800" dirty="0"/>
          </a:p>
          <a:p>
            <a:pPr marL="285750" indent="-285750">
              <a:buFont typeface="Arial" panose="020B0604020202020204" pitchFamily="34" charset="0"/>
              <a:buChar char="•"/>
            </a:pPr>
            <a:r>
              <a:rPr lang="nl-NL" sz="1800" dirty="0">
                <a:hlinkClick r:id="rId4"/>
              </a:rPr>
              <a:t>https://medium.com/fluree/what-is-shacl-with-examples-2697f659d465</a:t>
            </a: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a:p>
            <a:pPr marL="285750" indent="-285750">
              <a:buFont typeface="Arial" panose="020B0604020202020204" pitchFamily="34" charset="0"/>
              <a:buChar char="•"/>
            </a:pPr>
            <a:endParaRPr lang="nl-NL" sz="1800" dirty="0"/>
          </a:p>
        </p:txBody>
      </p:sp>
      <p:sp>
        <p:nvSpPr>
          <p:cNvPr id="4" name="Title 3">
            <a:extLst>
              <a:ext uri="{FF2B5EF4-FFF2-40B4-BE49-F238E27FC236}">
                <a16:creationId xmlns:a16="http://schemas.microsoft.com/office/drawing/2014/main" id="{8EA8629F-B321-D125-378B-2918F93A2254}"/>
              </a:ext>
            </a:extLst>
          </p:cNvPr>
          <p:cNvSpPr>
            <a:spLocks noGrp="1"/>
          </p:cNvSpPr>
          <p:nvPr>
            <p:ph type="title"/>
          </p:nvPr>
        </p:nvSpPr>
        <p:spPr/>
        <p:txBody>
          <a:bodyPr/>
          <a:lstStyle/>
          <a:p>
            <a:r>
              <a:rPr lang="nl-NL" dirty="0"/>
              <a:t>References / Recommend reading</a:t>
            </a:r>
          </a:p>
        </p:txBody>
      </p:sp>
    </p:spTree>
    <p:extLst>
      <p:ext uri="{BB962C8B-B14F-4D97-AF65-F5344CB8AC3E}">
        <p14:creationId xmlns:p14="http://schemas.microsoft.com/office/powerpoint/2010/main" val="2744802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BAE83F-56EA-C2A2-ECEA-737AE58E6F3F}"/>
              </a:ext>
            </a:extLst>
          </p:cNvPr>
          <p:cNvSpPr>
            <a:spLocks noGrp="1"/>
          </p:cNvSpPr>
          <p:nvPr>
            <p:ph type="body" sz="quarter" idx="10"/>
          </p:nvPr>
        </p:nvSpPr>
        <p:spPr>
          <a:xfrm>
            <a:off x="427038" y="3428206"/>
            <a:ext cx="11356975" cy="1107996"/>
          </a:xfrm>
        </p:spPr>
        <p:txBody>
          <a:bodyPr/>
          <a:lstStyle/>
          <a:p>
            <a:r>
              <a:rPr lang="nl-NL" dirty="0"/>
              <a:t>Closing</a:t>
            </a:r>
          </a:p>
        </p:txBody>
      </p:sp>
    </p:spTree>
    <p:extLst>
      <p:ext uri="{BB962C8B-B14F-4D97-AF65-F5344CB8AC3E}">
        <p14:creationId xmlns:p14="http://schemas.microsoft.com/office/powerpoint/2010/main" val="4465049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oad with trees on the side&#10;&#10;Description automatically generated">
            <a:hlinkClick r:id="rId2"/>
            <a:extLst>
              <a:ext uri="{FF2B5EF4-FFF2-40B4-BE49-F238E27FC236}">
                <a16:creationId xmlns:a16="http://schemas.microsoft.com/office/drawing/2014/main" id="{076DEE8C-D895-0FD3-2174-FAD3AA704A83}"/>
              </a:ext>
            </a:extLst>
          </p:cNvPr>
          <p:cNvPicPr>
            <a:picLocks noChangeAspect="1"/>
          </p:cNvPicPr>
          <p:nvPr/>
        </p:nvPicPr>
        <p:blipFill rotWithShape="1">
          <a:blip r:embed="rId3"/>
          <a:srcRect l="1" t="21209" r="-2" b="13891"/>
          <a:stretch/>
        </p:blipFill>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noFill/>
        </p:spPr>
      </p:pic>
      <p:sp>
        <p:nvSpPr>
          <p:cNvPr id="4" name="Title 3">
            <a:extLst>
              <a:ext uri="{FF2B5EF4-FFF2-40B4-BE49-F238E27FC236}">
                <a16:creationId xmlns:a16="http://schemas.microsoft.com/office/drawing/2014/main" id="{3BB24D47-B315-45EB-84AC-8A456A26F8D3}"/>
              </a:ext>
            </a:extLst>
          </p:cNvPr>
          <p:cNvSpPr>
            <a:spLocks noGrp="1"/>
          </p:cNvSpPr>
          <p:nvPr>
            <p:ph type="title"/>
          </p:nvPr>
        </p:nvSpPr>
        <p:spPr>
          <a:xfrm>
            <a:off x="407988" y="692696"/>
            <a:ext cx="4751907" cy="720179"/>
          </a:xfrm>
        </p:spPr>
        <p:txBody>
          <a:bodyPr anchor="b">
            <a:normAutofit/>
          </a:bodyPr>
          <a:lstStyle/>
          <a:p>
            <a:r>
              <a:rPr lang="nl-NL" dirty="0"/>
              <a:t>Discussion</a:t>
            </a:r>
          </a:p>
        </p:txBody>
      </p:sp>
      <p:sp>
        <p:nvSpPr>
          <p:cNvPr id="2" name="Text Placeholder 1">
            <a:extLst>
              <a:ext uri="{FF2B5EF4-FFF2-40B4-BE49-F238E27FC236}">
                <a16:creationId xmlns:a16="http://schemas.microsoft.com/office/drawing/2014/main" id="{31596744-D331-D5C2-0238-B6A2B937A9AA}"/>
              </a:ext>
            </a:extLst>
          </p:cNvPr>
          <p:cNvSpPr>
            <a:spLocks noGrp="1"/>
          </p:cNvSpPr>
          <p:nvPr>
            <p:ph type="body" sz="quarter" idx="12"/>
          </p:nvPr>
        </p:nvSpPr>
        <p:spPr>
          <a:xfrm>
            <a:off x="407988" y="1916832"/>
            <a:ext cx="5039940" cy="4536356"/>
          </a:xfrm>
        </p:spPr>
        <p:txBody>
          <a:bodyPr>
            <a:normAutofit/>
          </a:bodyPr>
          <a:lstStyle/>
          <a:p>
            <a:r>
              <a:rPr lang="nl-NL" dirty="0"/>
              <a:t>After today, how do you feel about OWL and SHACL?</a:t>
            </a:r>
          </a:p>
        </p:txBody>
      </p:sp>
    </p:spTree>
    <p:extLst>
      <p:ext uri="{BB962C8B-B14F-4D97-AF65-F5344CB8AC3E}">
        <p14:creationId xmlns:p14="http://schemas.microsoft.com/office/powerpoint/2010/main" val="39201205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527F09F-6266-5206-53F1-3489907D34FC}"/>
              </a:ext>
            </a:extLst>
          </p:cNvPr>
          <p:cNvSpPr>
            <a:spLocks noGrp="1"/>
          </p:cNvSpPr>
          <p:nvPr>
            <p:ph type="body" sz="quarter" idx="17"/>
          </p:nvPr>
        </p:nvSpPr>
        <p:spPr/>
        <p:txBody>
          <a:bodyPr/>
          <a:lstStyle/>
          <a:p>
            <a:pPr algn="ctr"/>
            <a:endParaRPr lang="nl-NL" sz="3200" dirty="0"/>
          </a:p>
          <a:p>
            <a:pPr algn="ctr"/>
            <a:endParaRPr lang="nl-NL" sz="3200" dirty="0"/>
          </a:p>
          <a:p>
            <a:pPr algn="ctr"/>
            <a:endParaRPr lang="nl-NL" sz="3200" dirty="0"/>
          </a:p>
          <a:p>
            <a:pPr algn="ctr"/>
            <a:r>
              <a:rPr lang="nl-NL" sz="3200" dirty="0"/>
              <a:t>Thank you for participating!</a:t>
            </a:r>
          </a:p>
          <a:p>
            <a:pPr algn="ctr"/>
            <a:endParaRPr lang="nl-NL" sz="3200" dirty="0"/>
          </a:p>
        </p:txBody>
      </p:sp>
    </p:spTree>
    <p:extLst>
      <p:ext uri="{BB962C8B-B14F-4D97-AF65-F5344CB8AC3E}">
        <p14:creationId xmlns:p14="http://schemas.microsoft.com/office/powerpoint/2010/main" val="6635049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1698B59-1733-7983-6982-F93A39B01170}"/>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2" name="Rectangle 1">
            <a:extLst>
              <a:ext uri="{FF2B5EF4-FFF2-40B4-BE49-F238E27FC236}">
                <a16:creationId xmlns:a16="http://schemas.microsoft.com/office/drawing/2014/main" id="{E594DA9C-B142-DE0F-DED2-C2EA4724528E}"/>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2182820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a:extLst>
              <a:ext uri="{FF2B5EF4-FFF2-40B4-BE49-F238E27FC236}">
                <a16:creationId xmlns:a16="http://schemas.microsoft.com/office/drawing/2014/main" id="{7E020E5E-0832-2042-FE72-65E9A22DA7A8}"/>
              </a:ext>
            </a:extLst>
          </p:cNvPr>
          <p:cNvPicPr>
            <a:picLocks noChangeAspect="1"/>
          </p:cNvPicPr>
          <p:nvPr/>
        </p:nvPicPr>
        <p:blipFill>
          <a:blip r:embed="rId2"/>
          <a:srcRect t="2407"/>
          <a:stretch/>
        </p:blipFill>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noFill/>
        </p:spPr>
      </p:pic>
      <p:sp>
        <p:nvSpPr>
          <p:cNvPr id="4" name="Title 3">
            <a:extLst>
              <a:ext uri="{FF2B5EF4-FFF2-40B4-BE49-F238E27FC236}">
                <a16:creationId xmlns:a16="http://schemas.microsoft.com/office/drawing/2014/main" id="{AF7B65AB-7C1D-486C-B0D9-52715E4F9B6F}"/>
              </a:ext>
            </a:extLst>
          </p:cNvPr>
          <p:cNvSpPr>
            <a:spLocks noGrp="1"/>
          </p:cNvSpPr>
          <p:nvPr>
            <p:ph type="title"/>
          </p:nvPr>
        </p:nvSpPr>
        <p:spPr>
          <a:xfrm>
            <a:off x="407988" y="692696"/>
            <a:ext cx="4751907" cy="720179"/>
          </a:xfrm>
        </p:spPr>
        <p:txBody>
          <a:bodyPr anchor="b">
            <a:normAutofit/>
          </a:bodyPr>
          <a:lstStyle/>
          <a:p>
            <a:r>
              <a:rPr lang="nl-NL" dirty="0"/>
              <a:t>About Me</a:t>
            </a:r>
          </a:p>
        </p:txBody>
      </p:sp>
      <p:sp>
        <p:nvSpPr>
          <p:cNvPr id="3" name="Text Placeholder 2">
            <a:extLst>
              <a:ext uri="{FF2B5EF4-FFF2-40B4-BE49-F238E27FC236}">
                <a16:creationId xmlns:a16="http://schemas.microsoft.com/office/drawing/2014/main" id="{5E7B48F3-94E0-956F-BF32-0D65115FA3C6}"/>
              </a:ext>
            </a:extLst>
          </p:cNvPr>
          <p:cNvSpPr>
            <a:spLocks noGrp="1"/>
          </p:cNvSpPr>
          <p:nvPr>
            <p:ph type="body" sz="quarter" idx="12"/>
          </p:nvPr>
        </p:nvSpPr>
        <p:spPr>
          <a:xfrm>
            <a:off x="407988" y="1916832"/>
            <a:ext cx="5471988" cy="4536356"/>
          </a:xfrm>
        </p:spPr>
        <p:txBody>
          <a:bodyPr>
            <a:normAutofit/>
          </a:bodyPr>
          <a:lstStyle/>
          <a:p>
            <a:pPr marL="285750" indent="-285750">
              <a:lnSpc>
                <a:spcPct val="90000"/>
              </a:lnSpc>
              <a:buFont typeface="Arial" panose="020B0604020202020204" pitchFamily="34" charset="0"/>
              <a:buChar char="•"/>
            </a:pPr>
            <a:r>
              <a:rPr lang="nl-NL" dirty="0"/>
              <a:t>Amir Westhoff</a:t>
            </a:r>
          </a:p>
          <a:p>
            <a:pPr marL="285750" indent="-285750">
              <a:lnSpc>
                <a:spcPct val="90000"/>
              </a:lnSpc>
              <a:buFont typeface="Arial" panose="020B0604020202020204" pitchFamily="34" charset="0"/>
              <a:buChar char="•"/>
            </a:pPr>
            <a:r>
              <a:rPr lang="nl-NL" dirty="0"/>
              <a:t>Joined Capgemini in 2018</a:t>
            </a:r>
          </a:p>
          <a:p>
            <a:pPr marL="285750" indent="-285750">
              <a:lnSpc>
                <a:spcPct val="90000"/>
              </a:lnSpc>
              <a:buFont typeface="Arial" panose="020B0604020202020204" pitchFamily="34" charset="0"/>
              <a:buChar char="•"/>
            </a:pPr>
            <a:r>
              <a:rPr lang="nl-NL" dirty="0"/>
              <a:t>Managing Consultant / Information Architect</a:t>
            </a:r>
          </a:p>
          <a:p>
            <a:pPr marL="285750" indent="-285750">
              <a:lnSpc>
                <a:spcPct val="90000"/>
              </a:lnSpc>
              <a:buFont typeface="Arial" panose="020B0604020202020204" pitchFamily="34" charset="0"/>
              <a:buChar char="•"/>
            </a:pPr>
            <a:endParaRPr lang="nl-NL" dirty="0"/>
          </a:p>
          <a:p>
            <a:pPr marL="285750" indent="-285750">
              <a:lnSpc>
                <a:spcPct val="90000"/>
              </a:lnSpc>
              <a:buFont typeface="Arial" panose="020B0604020202020204" pitchFamily="34" charset="0"/>
              <a:buChar char="•"/>
            </a:pPr>
            <a:r>
              <a:rPr lang="nl-NL" dirty="0"/>
              <a:t>Worked with Linked Data/RDF since 2018 at:</a:t>
            </a:r>
          </a:p>
          <a:p>
            <a:pPr marL="466725" lvl="1" indent="-285750">
              <a:lnSpc>
                <a:spcPct val="90000"/>
              </a:lnSpc>
              <a:buFont typeface="Arial" panose="020B0604020202020204" pitchFamily="34" charset="0"/>
              <a:buChar char="•"/>
            </a:pPr>
            <a:r>
              <a:rPr lang="nl-NL" sz="1800" dirty="0"/>
              <a:t>Logius</a:t>
            </a:r>
          </a:p>
          <a:p>
            <a:pPr marL="466725" lvl="1" indent="-285750">
              <a:lnSpc>
                <a:spcPct val="90000"/>
              </a:lnSpc>
              <a:buFont typeface="Arial" panose="020B0604020202020204" pitchFamily="34" charset="0"/>
              <a:buChar char="•"/>
            </a:pPr>
            <a:r>
              <a:rPr lang="nl-NL" sz="1800" dirty="0"/>
              <a:t>Dutch Police</a:t>
            </a:r>
          </a:p>
          <a:p>
            <a:pPr marL="466725" lvl="1" indent="-285750">
              <a:lnSpc>
                <a:spcPct val="90000"/>
              </a:lnSpc>
              <a:buFont typeface="Arial" panose="020B0604020202020204" pitchFamily="34" charset="0"/>
              <a:buChar char="•"/>
            </a:pPr>
            <a:r>
              <a:rPr lang="nl-NL" sz="1800" dirty="0"/>
              <a:t>Ministry of General Affairs</a:t>
            </a:r>
          </a:p>
          <a:p>
            <a:pPr marL="466725" lvl="1" indent="-285750">
              <a:lnSpc>
                <a:spcPct val="90000"/>
              </a:lnSpc>
              <a:buFont typeface="Arial" panose="020B0604020202020204" pitchFamily="34" charset="0"/>
              <a:buChar char="•"/>
            </a:pPr>
            <a:r>
              <a:rPr lang="nl-NL" sz="1800" dirty="0"/>
              <a:t>UWV</a:t>
            </a:r>
          </a:p>
          <a:p>
            <a:pPr marL="466725" lvl="1" indent="-285750">
              <a:lnSpc>
                <a:spcPct val="90000"/>
              </a:lnSpc>
              <a:buFont typeface="Arial" panose="020B0604020202020204" pitchFamily="34" charset="0"/>
              <a:buChar char="•"/>
            </a:pPr>
            <a:endParaRPr lang="nl-NL" sz="1800" dirty="0"/>
          </a:p>
          <a:p>
            <a:pPr marL="285750" indent="-285750">
              <a:lnSpc>
                <a:spcPct val="90000"/>
              </a:lnSpc>
              <a:buFont typeface="Arial" panose="020B0604020202020204" pitchFamily="34" charset="0"/>
              <a:buChar char="•"/>
            </a:pPr>
            <a:r>
              <a:rPr lang="nl-NL" dirty="0"/>
              <a:t>Wrote three articles on Linked Data/RDF for Capgemini publications</a:t>
            </a:r>
          </a:p>
          <a:p>
            <a:pPr marL="285750" indent="-285750">
              <a:lnSpc>
                <a:spcPct val="90000"/>
              </a:lnSpc>
              <a:buFont typeface="Arial" panose="020B0604020202020204" pitchFamily="34" charset="0"/>
              <a:buChar char="•"/>
            </a:pPr>
            <a:r>
              <a:rPr lang="nl-NL" dirty="0"/>
              <a:t>Developed three Capgemini Academy trainings</a:t>
            </a:r>
          </a:p>
        </p:txBody>
      </p:sp>
    </p:spTree>
    <p:extLst>
      <p:ext uri="{BB962C8B-B14F-4D97-AF65-F5344CB8AC3E}">
        <p14:creationId xmlns:p14="http://schemas.microsoft.com/office/powerpoint/2010/main" val="150913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dog and a dog on leashes&#10;&#10;Description automatically generated">
            <a:hlinkClick r:id="rId2"/>
            <a:extLst>
              <a:ext uri="{FF2B5EF4-FFF2-40B4-BE49-F238E27FC236}">
                <a16:creationId xmlns:a16="http://schemas.microsoft.com/office/drawing/2014/main" id="{3BC623F6-109C-9AFB-8D99-DBC39C145A40}"/>
              </a:ext>
            </a:extLst>
          </p:cNvPr>
          <p:cNvPicPr>
            <a:picLocks noChangeAspect="1"/>
          </p:cNvPicPr>
          <p:nvPr/>
        </p:nvPicPr>
        <p:blipFill>
          <a:blip r:embed="rId3"/>
          <a:srcRect t="9391" r="-2" b="19120"/>
          <a:stretch/>
        </p:blipFill>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noFill/>
        </p:spPr>
      </p:pic>
      <p:sp>
        <p:nvSpPr>
          <p:cNvPr id="4" name="Title 3">
            <a:extLst>
              <a:ext uri="{FF2B5EF4-FFF2-40B4-BE49-F238E27FC236}">
                <a16:creationId xmlns:a16="http://schemas.microsoft.com/office/drawing/2014/main" id="{AF7B65AB-7C1D-486C-B0D9-52715E4F9B6F}"/>
              </a:ext>
            </a:extLst>
          </p:cNvPr>
          <p:cNvSpPr>
            <a:spLocks noGrp="1"/>
          </p:cNvSpPr>
          <p:nvPr>
            <p:ph type="title"/>
          </p:nvPr>
        </p:nvSpPr>
        <p:spPr>
          <a:xfrm>
            <a:off x="407988" y="692696"/>
            <a:ext cx="4751907" cy="720179"/>
          </a:xfrm>
        </p:spPr>
        <p:txBody>
          <a:bodyPr anchor="b">
            <a:normAutofit/>
          </a:bodyPr>
          <a:lstStyle/>
          <a:p>
            <a:r>
              <a:rPr lang="nl-NL" dirty="0"/>
              <a:t>What about you?</a:t>
            </a:r>
          </a:p>
        </p:txBody>
      </p:sp>
      <p:sp>
        <p:nvSpPr>
          <p:cNvPr id="3" name="Text Placeholder 2">
            <a:extLst>
              <a:ext uri="{FF2B5EF4-FFF2-40B4-BE49-F238E27FC236}">
                <a16:creationId xmlns:a16="http://schemas.microsoft.com/office/drawing/2014/main" id="{5E7B48F3-94E0-956F-BF32-0D65115FA3C6}"/>
              </a:ext>
            </a:extLst>
          </p:cNvPr>
          <p:cNvSpPr>
            <a:spLocks noGrp="1"/>
          </p:cNvSpPr>
          <p:nvPr>
            <p:ph type="body" sz="quarter" idx="12"/>
          </p:nvPr>
        </p:nvSpPr>
        <p:spPr>
          <a:xfrm>
            <a:off x="407988" y="1916832"/>
            <a:ext cx="5471988" cy="4536356"/>
          </a:xfrm>
        </p:spPr>
        <p:txBody>
          <a:bodyPr>
            <a:normAutofit/>
          </a:bodyPr>
          <a:lstStyle/>
          <a:p>
            <a:pPr marL="285750" indent="-285750">
              <a:buFont typeface="Arial" panose="020B0604020202020204" pitchFamily="34" charset="0"/>
              <a:buChar char="•"/>
            </a:pPr>
            <a:r>
              <a:rPr lang="nl-NL" dirty="0"/>
              <a:t>What is your name?</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What type of roles have you had in recent times? </a:t>
            </a:r>
          </a:p>
          <a:p>
            <a:endParaRPr lang="nl-NL" dirty="0"/>
          </a:p>
          <a:p>
            <a:pPr marL="285750" indent="-285750">
              <a:buFont typeface="Arial" panose="020B0604020202020204" pitchFamily="34" charset="0"/>
              <a:buChar char="•"/>
            </a:pPr>
            <a:r>
              <a:rPr lang="nl-NL" dirty="0"/>
              <a:t>Does your current job/assigment involve Linked Data/RDF/ontologies/knowledge graphs?</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Is there anything particular you would like to learn in this training?</a:t>
            </a:r>
          </a:p>
        </p:txBody>
      </p:sp>
    </p:spTree>
    <p:extLst>
      <p:ext uri="{BB962C8B-B14F-4D97-AF65-F5344CB8AC3E}">
        <p14:creationId xmlns:p14="http://schemas.microsoft.com/office/powerpoint/2010/main" val="2659769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3F5065-4829-E984-7939-3B579533FFE3}"/>
              </a:ext>
            </a:extLst>
          </p:cNvPr>
          <p:cNvSpPr>
            <a:spLocks noGrp="1"/>
          </p:cNvSpPr>
          <p:nvPr>
            <p:ph type="body" sz="quarter" idx="15"/>
          </p:nvPr>
        </p:nvSpPr>
        <p:spPr/>
        <p:txBody>
          <a:bodyPr/>
          <a:lstStyle/>
          <a:p>
            <a:endParaRPr lang="nl-NL"/>
          </a:p>
        </p:txBody>
      </p:sp>
      <p:sp>
        <p:nvSpPr>
          <p:cNvPr id="3" name="Title 2">
            <a:extLst>
              <a:ext uri="{FF2B5EF4-FFF2-40B4-BE49-F238E27FC236}">
                <a16:creationId xmlns:a16="http://schemas.microsoft.com/office/drawing/2014/main" id="{A9B5B7E2-0C77-F351-C106-78BC3F5D8B3A}"/>
              </a:ext>
            </a:extLst>
          </p:cNvPr>
          <p:cNvSpPr>
            <a:spLocks noGrp="1"/>
          </p:cNvSpPr>
          <p:nvPr>
            <p:ph type="title"/>
          </p:nvPr>
        </p:nvSpPr>
        <p:spPr/>
        <p:txBody>
          <a:bodyPr/>
          <a:lstStyle/>
          <a:p>
            <a:r>
              <a:rPr lang="nl-NL" dirty="0"/>
              <a:t>Capgemini Academy trainings on Linked Data</a:t>
            </a:r>
          </a:p>
        </p:txBody>
      </p:sp>
      <p:sp>
        <p:nvSpPr>
          <p:cNvPr id="4" name="Rectangle 3">
            <a:extLst>
              <a:ext uri="{FF2B5EF4-FFF2-40B4-BE49-F238E27FC236}">
                <a16:creationId xmlns:a16="http://schemas.microsoft.com/office/drawing/2014/main" id="{770CA3E7-97DE-7DE2-D24E-474A88E1E4DC}"/>
              </a:ext>
            </a:extLst>
          </p:cNvPr>
          <p:cNvSpPr/>
          <p:nvPr/>
        </p:nvSpPr>
        <p:spPr>
          <a:xfrm>
            <a:off x="479376" y="3501008"/>
            <a:ext cx="11161240" cy="864096"/>
          </a:xfrm>
          <a:prstGeom prst="rect">
            <a:avLst/>
          </a:prstGeom>
          <a:gradFill flip="none" rotWithShape="1">
            <a:gsLst>
              <a:gs pos="0">
                <a:schemeClr val="tx2"/>
              </a:gs>
              <a:gs pos="100000">
                <a:schemeClr val="accent1"/>
              </a:gs>
            </a:gsLst>
            <a:lin ang="0" scaled="1"/>
            <a:tileRect/>
          </a:gra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400" dirty="0" err="1">
              <a:solidFill>
                <a:schemeClr val="tx1"/>
              </a:solidFill>
            </a:endParaRPr>
          </a:p>
        </p:txBody>
      </p:sp>
      <p:cxnSp>
        <p:nvCxnSpPr>
          <p:cNvPr id="6" name="Straight Connector 5">
            <a:extLst>
              <a:ext uri="{FF2B5EF4-FFF2-40B4-BE49-F238E27FC236}">
                <a16:creationId xmlns:a16="http://schemas.microsoft.com/office/drawing/2014/main" id="{5BBDB023-7274-05E4-7D32-3D9E614CD4EB}"/>
              </a:ext>
            </a:extLst>
          </p:cNvPr>
          <p:cNvCxnSpPr/>
          <p:nvPr/>
        </p:nvCxnSpPr>
        <p:spPr>
          <a:xfrm>
            <a:off x="3935760" y="3380606"/>
            <a:ext cx="0" cy="115212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5EADD7E-4E2E-45B3-6113-6758B42067D4}"/>
              </a:ext>
            </a:extLst>
          </p:cNvPr>
          <p:cNvCxnSpPr/>
          <p:nvPr/>
        </p:nvCxnSpPr>
        <p:spPr>
          <a:xfrm>
            <a:off x="8400256" y="3356992"/>
            <a:ext cx="0" cy="115212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07CBA8-95FB-8064-7747-758BAA711503}"/>
              </a:ext>
            </a:extLst>
          </p:cNvPr>
          <p:cNvSpPr txBox="1"/>
          <p:nvPr/>
        </p:nvSpPr>
        <p:spPr>
          <a:xfrm>
            <a:off x="1271464" y="4395370"/>
            <a:ext cx="1384010" cy="371513"/>
          </a:xfrm>
          <a:prstGeom prst="rect">
            <a:avLst/>
          </a:prstGeom>
          <a:noFill/>
        </p:spPr>
        <p:txBody>
          <a:bodyPr vert="horz" wrap="none" lIns="90000" tIns="46800" rIns="90000" bIns="46800" rtlCol="0" anchor="ctr">
            <a:spAutoFit/>
          </a:bodyPr>
          <a:lstStyle/>
          <a:p>
            <a:pPr algn="l">
              <a:spcBef>
                <a:spcPct val="0"/>
              </a:spcBef>
            </a:pPr>
            <a:r>
              <a:rPr lang="nl-NL" dirty="0">
                <a:solidFill>
                  <a:schemeClr val="bg1"/>
                </a:solidFill>
              </a:rPr>
              <a:t>Foundation</a:t>
            </a:r>
          </a:p>
        </p:txBody>
      </p:sp>
      <p:sp>
        <p:nvSpPr>
          <p:cNvPr id="9" name="TextBox 8">
            <a:extLst>
              <a:ext uri="{FF2B5EF4-FFF2-40B4-BE49-F238E27FC236}">
                <a16:creationId xmlns:a16="http://schemas.microsoft.com/office/drawing/2014/main" id="{C7CE5BC3-E424-2A6D-CE72-EBFD00391FE2}"/>
              </a:ext>
            </a:extLst>
          </p:cNvPr>
          <p:cNvSpPr txBox="1"/>
          <p:nvPr/>
        </p:nvSpPr>
        <p:spPr>
          <a:xfrm>
            <a:off x="5519936" y="4395370"/>
            <a:ext cx="1428894" cy="371513"/>
          </a:xfrm>
          <a:prstGeom prst="rect">
            <a:avLst/>
          </a:prstGeom>
          <a:noFill/>
        </p:spPr>
        <p:txBody>
          <a:bodyPr vert="horz" wrap="none" lIns="90000" tIns="46800" rIns="90000" bIns="46800" rtlCol="0" anchor="ctr">
            <a:spAutoFit/>
          </a:bodyPr>
          <a:lstStyle/>
          <a:p>
            <a:pPr algn="l">
              <a:spcBef>
                <a:spcPct val="0"/>
              </a:spcBef>
            </a:pPr>
            <a:r>
              <a:rPr lang="nl-NL" dirty="0">
                <a:solidFill>
                  <a:schemeClr val="bg1"/>
                </a:solidFill>
              </a:rPr>
              <a:t>Practitioner</a:t>
            </a:r>
          </a:p>
        </p:txBody>
      </p:sp>
      <p:sp>
        <p:nvSpPr>
          <p:cNvPr id="10" name="TextBox 9">
            <a:extLst>
              <a:ext uri="{FF2B5EF4-FFF2-40B4-BE49-F238E27FC236}">
                <a16:creationId xmlns:a16="http://schemas.microsoft.com/office/drawing/2014/main" id="{6BCB2D05-E57F-AE2F-6E69-A5C9F5E3864D}"/>
              </a:ext>
            </a:extLst>
          </p:cNvPr>
          <p:cNvSpPr txBox="1"/>
          <p:nvPr/>
        </p:nvSpPr>
        <p:spPr>
          <a:xfrm>
            <a:off x="9491642" y="4395370"/>
            <a:ext cx="879065" cy="371513"/>
          </a:xfrm>
          <a:prstGeom prst="rect">
            <a:avLst/>
          </a:prstGeom>
          <a:noFill/>
        </p:spPr>
        <p:txBody>
          <a:bodyPr vert="horz" wrap="none" lIns="90000" tIns="46800" rIns="90000" bIns="46800" rtlCol="0" anchor="ctr">
            <a:spAutoFit/>
          </a:bodyPr>
          <a:lstStyle/>
          <a:p>
            <a:pPr algn="l">
              <a:spcBef>
                <a:spcPct val="0"/>
              </a:spcBef>
            </a:pPr>
            <a:r>
              <a:rPr lang="nl-NL" dirty="0">
                <a:solidFill>
                  <a:schemeClr val="bg1"/>
                </a:solidFill>
              </a:rPr>
              <a:t>Expert</a:t>
            </a:r>
          </a:p>
        </p:txBody>
      </p:sp>
      <p:sp>
        <p:nvSpPr>
          <p:cNvPr id="11" name="TextBox 10">
            <a:extLst>
              <a:ext uri="{FF2B5EF4-FFF2-40B4-BE49-F238E27FC236}">
                <a16:creationId xmlns:a16="http://schemas.microsoft.com/office/drawing/2014/main" id="{9DC10959-D1DC-0DA5-CF30-035F905A5857}"/>
              </a:ext>
            </a:extLst>
          </p:cNvPr>
          <p:cNvSpPr txBox="1"/>
          <p:nvPr/>
        </p:nvSpPr>
        <p:spPr>
          <a:xfrm>
            <a:off x="1775520" y="2501294"/>
            <a:ext cx="2425962" cy="309958"/>
          </a:xfrm>
          <a:prstGeom prst="rect">
            <a:avLst/>
          </a:prstGeom>
          <a:noFill/>
        </p:spPr>
        <p:txBody>
          <a:bodyPr vert="horz" wrap="none" lIns="90000" tIns="46800" rIns="90000" bIns="46800" rtlCol="0" anchor="ctr">
            <a:spAutoFit/>
          </a:bodyPr>
          <a:lstStyle/>
          <a:p>
            <a:pPr algn="l">
              <a:spcBef>
                <a:spcPct val="0"/>
              </a:spcBef>
            </a:pPr>
            <a:r>
              <a:rPr lang="nl-NL" sz="1400" dirty="0">
                <a:solidFill>
                  <a:schemeClr val="bg1"/>
                </a:solidFill>
              </a:rPr>
              <a:t>Introduction to Linked Data</a:t>
            </a:r>
          </a:p>
        </p:txBody>
      </p:sp>
      <p:sp>
        <p:nvSpPr>
          <p:cNvPr id="12" name="TextBox 11">
            <a:extLst>
              <a:ext uri="{FF2B5EF4-FFF2-40B4-BE49-F238E27FC236}">
                <a16:creationId xmlns:a16="http://schemas.microsoft.com/office/drawing/2014/main" id="{4547DEF4-1F39-6931-0378-1D90CBA29AC8}"/>
              </a:ext>
            </a:extLst>
          </p:cNvPr>
          <p:cNvSpPr txBox="1"/>
          <p:nvPr/>
        </p:nvSpPr>
        <p:spPr>
          <a:xfrm>
            <a:off x="7032104" y="2285851"/>
            <a:ext cx="2046051" cy="525401"/>
          </a:xfrm>
          <a:prstGeom prst="rect">
            <a:avLst/>
          </a:prstGeom>
          <a:noFill/>
        </p:spPr>
        <p:txBody>
          <a:bodyPr vert="horz" wrap="none" lIns="90000" tIns="46800" rIns="90000" bIns="46800" rtlCol="0" anchor="ctr">
            <a:spAutoFit/>
          </a:bodyPr>
          <a:lstStyle/>
          <a:p>
            <a:pPr algn="ctr">
              <a:spcBef>
                <a:spcPct val="0"/>
              </a:spcBef>
            </a:pPr>
            <a:r>
              <a:rPr lang="nl-NL" sz="1400" dirty="0">
                <a:solidFill>
                  <a:schemeClr val="bg1"/>
                </a:solidFill>
              </a:rPr>
              <a:t>Ontologies using OWL </a:t>
            </a:r>
            <a:br>
              <a:rPr lang="nl-NL" sz="1400" dirty="0">
                <a:solidFill>
                  <a:schemeClr val="bg1"/>
                </a:solidFill>
              </a:rPr>
            </a:br>
            <a:r>
              <a:rPr lang="nl-NL" sz="1400" dirty="0">
                <a:solidFill>
                  <a:schemeClr val="bg1"/>
                </a:solidFill>
              </a:rPr>
              <a:t>and SHACL</a:t>
            </a:r>
          </a:p>
        </p:txBody>
      </p:sp>
      <p:sp>
        <p:nvSpPr>
          <p:cNvPr id="13" name="TextBox 12">
            <a:extLst>
              <a:ext uri="{FF2B5EF4-FFF2-40B4-BE49-F238E27FC236}">
                <a16:creationId xmlns:a16="http://schemas.microsoft.com/office/drawing/2014/main" id="{1A759398-7B54-195B-0B02-EC0186FACA7C}"/>
              </a:ext>
            </a:extLst>
          </p:cNvPr>
          <p:cNvSpPr txBox="1"/>
          <p:nvPr/>
        </p:nvSpPr>
        <p:spPr>
          <a:xfrm>
            <a:off x="4638561" y="2600831"/>
            <a:ext cx="2281692" cy="525401"/>
          </a:xfrm>
          <a:prstGeom prst="rect">
            <a:avLst/>
          </a:prstGeom>
          <a:noFill/>
        </p:spPr>
        <p:txBody>
          <a:bodyPr vert="horz" wrap="none" lIns="90000" tIns="46800" rIns="90000" bIns="46800" rtlCol="0" anchor="ctr">
            <a:spAutoFit/>
          </a:bodyPr>
          <a:lstStyle/>
          <a:p>
            <a:pPr algn="ctr">
              <a:spcBef>
                <a:spcPct val="0"/>
              </a:spcBef>
            </a:pPr>
            <a:r>
              <a:rPr lang="nl-NL" sz="1400" dirty="0">
                <a:solidFill>
                  <a:schemeClr val="bg1"/>
                </a:solidFill>
              </a:rPr>
              <a:t>Taxonomies and Thesauri </a:t>
            </a:r>
            <a:br>
              <a:rPr lang="nl-NL" sz="1400" dirty="0">
                <a:solidFill>
                  <a:schemeClr val="bg1"/>
                </a:solidFill>
              </a:rPr>
            </a:br>
            <a:r>
              <a:rPr lang="nl-NL" sz="1400" dirty="0">
                <a:solidFill>
                  <a:schemeClr val="bg1"/>
                </a:solidFill>
              </a:rPr>
              <a:t>in SKOS</a:t>
            </a:r>
          </a:p>
        </p:txBody>
      </p:sp>
      <p:sp>
        <p:nvSpPr>
          <p:cNvPr id="15" name="Oval 14">
            <a:extLst>
              <a:ext uri="{FF2B5EF4-FFF2-40B4-BE49-F238E27FC236}">
                <a16:creationId xmlns:a16="http://schemas.microsoft.com/office/drawing/2014/main" id="{B52F3DA1-8E07-5275-579F-1982D7DCC6FF}"/>
              </a:ext>
            </a:extLst>
          </p:cNvPr>
          <p:cNvSpPr/>
          <p:nvPr/>
        </p:nvSpPr>
        <p:spPr>
          <a:xfrm>
            <a:off x="1753097" y="3813066"/>
            <a:ext cx="216024" cy="226494"/>
          </a:xfrm>
          <a:prstGeom prst="ellipse">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400" dirty="0" err="1">
              <a:solidFill>
                <a:schemeClr val="tx1"/>
              </a:solidFill>
            </a:endParaRPr>
          </a:p>
        </p:txBody>
      </p:sp>
      <p:sp>
        <p:nvSpPr>
          <p:cNvPr id="16" name="Oval 15">
            <a:extLst>
              <a:ext uri="{FF2B5EF4-FFF2-40B4-BE49-F238E27FC236}">
                <a16:creationId xmlns:a16="http://schemas.microsoft.com/office/drawing/2014/main" id="{A9B5783F-70E4-A15D-62E9-F8B0A0FB480C}"/>
              </a:ext>
            </a:extLst>
          </p:cNvPr>
          <p:cNvSpPr/>
          <p:nvPr/>
        </p:nvSpPr>
        <p:spPr>
          <a:xfrm>
            <a:off x="5171163" y="3699819"/>
            <a:ext cx="216024" cy="226494"/>
          </a:xfrm>
          <a:prstGeom prst="ellipse">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400" dirty="0" err="1">
              <a:solidFill>
                <a:schemeClr val="tx1"/>
              </a:solidFill>
            </a:endParaRPr>
          </a:p>
        </p:txBody>
      </p:sp>
      <p:sp>
        <p:nvSpPr>
          <p:cNvPr id="17" name="Oval 16">
            <a:extLst>
              <a:ext uri="{FF2B5EF4-FFF2-40B4-BE49-F238E27FC236}">
                <a16:creationId xmlns:a16="http://schemas.microsoft.com/office/drawing/2014/main" id="{D50F4C77-C559-E4B8-5856-A1856F5813B7}"/>
              </a:ext>
            </a:extLst>
          </p:cNvPr>
          <p:cNvSpPr/>
          <p:nvPr/>
        </p:nvSpPr>
        <p:spPr>
          <a:xfrm>
            <a:off x="7547109" y="3843423"/>
            <a:ext cx="216024" cy="226494"/>
          </a:xfrm>
          <a:prstGeom prst="ellipse">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400" dirty="0" err="1">
              <a:solidFill>
                <a:schemeClr val="tx1"/>
              </a:solidFill>
            </a:endParaRPr>
          </a:p>
        </p:txBody>
      </p:sp>
      <p:cxnSp>
        <p:nvCxnSpPr>
          <p:cNvPr id="19" name="Straight Connector 18">
            <a:extLst>
              <a:ext uri="{FF2B5EF4-FFF2-40B4-BE49-F238E27FC236}">
                <a16:creationId xmlns:a16="http://schemas.microsoft.com/office/drawing/2014/main" id="{D531EF9C-58F2-9D15-277F-09A239BB57F0}"/>
              </a:ext>
            </a:extLst>
          </p:cNvPr>
          <p:cNvCxnSpPr/>
          <p:nvPr/>
        </p:nvCxnSpPr>
        <p:spPr>
          <a:xfrm flipH="1">
            <a:off x="7763133" y="2924944"/>
            <a:ext cx="291996" cy="79449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9E7AC6-B737-5904-121F-6C975FD6CAB2}"/>
              </a:ext>
            </a:extLst>
          </p:cNvPr>
          <p:cNvCxnSpPr/>
          <p:nvPr/>
        </p:nvCxnSpPr>
        <p:spPr>
          <a:xfrm flipH="1">
            <a:off x="5425505" y="3153667"/>
            <a:ext cx="169932" cy="45252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087B62A-0E80-B356-6DCA-B6256382584F}"/>
              </a:ext>
            </a:extLst>
          </p:cNvPr>
          <p:cNvCxnSpPr>
            <a:cxnSpLocks/>
          </p:cNvCxnSpPr>
          <p:nvPr/>
        </p:nvCxnSpPr>
        <p:spPr>
          <a:xfrm flipH="1">
            <a:off x="2109764" y="2864520"/>
            <a:ext cx="688398" cy="854922"/>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3922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86D751-FD46-EE95-8250-CB79BABCC709}"/>
              </a:ext>
            </a:extLst>
          </p:cNvPr>
          <p:cNvSpPr>
            <a:spLocks noGrp="1"/>
          </p:cNvSpPr>
          <p:nvPr>
            <p:ph type="body" sz="quarter" idx="10"/>
          </p:nvPr>
        </p:nvSpPr>
        <p:spPr>
          <a:xfrm>
            <a:off x="427038" y="2320211"/>
            <a:ext cx="11356975" cy="2215991"/>
          </a:xfrm>
        </p:spPr>
        <p:txBody>
          <a:bodyPr/>
          <a:lstStyle/>
          <a:p>
            <a:r>
              <a:rPr lang="nl-NL" dirty="0"/>
              <a:t>Linked Data/RDF </a:t>
            </a:r>
          </a:p>
          <a:p>
            <a:r>
              <a:rPr lang="nl-NL" dirty="0"/>
              <a:t>recap</a:t>
            </a:r>
          </a:p>
        </p:txBody>
      </p:sp>
    </p:spTree>
    <p:extLst>
      <p:ext uri="{BB962C8B-B14F-4D97-AF65-F5344CB8AC3E}">
        <p14:creationId xmlns:p14="http://schemas.microsoft.com/office/powerpoint/2010/main" val="185356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098F33-1BE6-A991-BA42-2F0D5D23A9B4}"/>
              </a:ext>
            </a:extLst>
          </p:cNvPr>
          <p:cNvSpPr>
            <a:spLocks noGrp="1"/>
          </p:cNvSpPr>
          <p:nvPr>
            <p:ph type="title"/>
          </p:nvPr>
        </p:nvSpPr>
        <p:spPr/>
        <p:txBody>
          <a:bodyPr/>
          <a:lstStyle/>
          <a:p>
            <a:r>
              <a:rPr lang="nl-NL" dirty="0"/>
              <a:t>Linked Data 101</a:t>
            </a:r>
          </a:p>
        </p:txBody>
      </p:sp>
      <p:sp>
        <p:nvSpPr>
          <p:cNvPr id="4" name="TextBox 3">
            <a:extLst>
              <a:ext uri="{FF2B5EF4-FFF2-40B4-BE49-F238E27FC236}">
                <a16:creationId xmlns:a16="http://schemas.microsoft.com/office/drawing/2014/main" id="{59A14403-A673-0535-45DD-AEB8B04A2F14}"/>
              </a:ext>
            </a:extLst>
          </p:cNvPr>
          <p:cNvSpPr txBox="1"/>
          <p:nvPr/>
        </p:nvSpPr>
        <p:spPr>
          <a:xfrm>
            <a:off x="427610" y="1636853"/>
            <a:ext cx="7481229" cy="4095609"/>
          </a:xfrm>
          <a:prstGeom prst="rect">
            <a:avLst/>
          </a:prstGeom>
          <a:noFill/>
        </p:spPr>
        <p:txBody>
          <a:bodyPr vert="horz" wrap="square" lIns="90000" tIns="46800" rIns="90000" bIns="46800" rtlCol="0" anchor="ctr">
            <a:spAutoFit/>
          </a:bodyPr>
          <a:lstStyle/>
          <a:p>
            <a:pPr marL="285750" indent="-285750" algn="l">
              <a:spcBef>
                <a:spcPct val="0"/>
              </a:spcBef>
              <a:buFont typeface="Arial" panose="020B0604020202020204" pitchFamily="34" charset="0"/>
              <a:buChar char="•"/>
            </a:pPr>
            <a:r>
              <a:rPr lang="nl-NL" sz="2000" dirty="0">
                <a:solidFill>
                  <a:schemeClr val="bg1"/>
                </a:solidFill>
              </a:rPr>
              <a:t>Linked Data is data that follows the open W3C-standard </a:t>
            </a:r>
            <a:r>
              <a:rPr lang="nl-NL" sz="2000" i="1" dirty="0">
                <a:solidFill>
                  <a:schemeClr val="bg1"/>
                </a:solidFill>
              </a:rPr>
              <a:t>Resource Description Framework</a:t>
            </a:r>
            <a:r>
              <a:rPr lang="nl-NL" sz="2000" dirty="0">
                <a:solidFill>
                  <a:schemeClr val="bg1"/>
                </a:solidFill>
              </a:rPr>
              <a:t> (RDF) and relevant best practices</a:t>
            </a:r>
          </a:p>
          <a:p>
            <a:pPr marL="285750" indent="-285750" algn="l">
              <a:spcBef>
                <a:spcPct val="0"/>
              </a:spcBef>
              <a:buFont typeface="Arial" panose="020B0604020202020204" pitchFamily="34" charset="0"/>
              <a:buChar char="•"/>
            </a:pPr>
            <a:endParaRPr lang="nl-NL" sz="2000" dirty="0">
              <a:solidFill>
                <a:schemeClr val="bg1"/>
              </a:solidFill>
            </a:endParaRPr>
          </a:p>
          <a:p>
            <a:pPr marL="285750" indent="-285750">
              <a:spcBef>
                <a:spcPct val="0"/>
              </a:spcBef>
              <a:buFont typeface="Arial" panose="020B0604020202020204" pitchFamily="34" charset="0"/>
              <a:buChar char="•"/>
            </a:pPr>
            <a:r>
              <a:rPr lang="nl-NL" sz="2000" dirty="0">
                <a:solidFill>
                  <a:schemeClr val="bg1"/>
                </a:solidFill>
              </a:rPr>
              <a:t>RDF was invented by Tim Berners-Lee at W3C</a:t>
            </a:r>
          </a:p>
          <a:p>
            <a:pPr algn="l">
              <a:spcBef>
                <a:spcPct val="0"/>
              </a:spcBef>
            </a:pPr>
            <a:endParaRPr lang="nl-NL" sz="2000" dirty="0">
              <a:solidFill>
                <a:schemeClr val="bg1"/>
              </a:solidFill>
            </a:endParaRPr>
          </a:p>
          <a:p>
            <a:pPr marL="285750" indent="-285750" algn="l">
              <a:spcBef>
                <a:spcPct val="0"/>
              </a:spcBef>
              <a:buFont typeface="Arial" panose="020B0604020202020204" pitchFamily="34" charset="0"/>
              <a:buChar char="•"/>
            </a:pPr>
            <a:r>
              <a:rPr lang="nl-NL" sz="2000" dirty="0">
                <a:solidFill>
                  <a:schemeClr val="bg1"/>
                </a:solidFill>
              </a:rPr>
              <a:t>Also called Linked Open Data, but principles can also be applied to closed data</a:t>
            </a:r>
          </a:p>
          <a:p>
            <a:pPr marL="285750" indent="-285750" algn="l">
              <a:spcBef>
                <a:spcPct val="0"/>
              </a:spcBef>
              <a:buFont typeface="Arial" panose="020B0604020202020204" pitchFamily="34" charset="0"/>
              <a:buChar char="•"/>
            </a:pPr>
            <a:endParaRPr lang="nl-NL" sz="2000" dirty="0">
              <a:solidFill>
                <a:schemeClr val="bg1"/>
              </a:solidFill>
            </a:endParaRPr>
          </a:p>
          <a:p>
            <a:pPr marL="285750" indent="-285750" algn="l">
              <a:spcBef>
                <a:spcPct val="0"/>
              </a:spcBef>
              <a:buFont typeface="Arial" panose="020B0604020202020204" pitchFamily="34" charset="0"/>
              <a:buChar char="•"/>
            </a:pPr>
            <a:r>
              <a:rPr lang="nl-NL" sz="2000" dirty="0">
                <a:solidFill>
                  <a:schemeClr val="bg1"/>
                </a:solidFill>
              </a:rPr>
              <a:t>Basically, a different way of dealing with data, using open (web) standards</a:t>
            </a:r>
          </a:p>
          <a:p>
            <a:pPr marL="285750" indent="-285750" algn="l">
              <a:spcBef>
                <a:spcPct val="0"/>
              </a:spcBef>
              <a:buFont typeface="Arial" panose="020B0604020202020204" pitchFamily="34" charset="0"/>
              <a:buChar char="•"/>
            </a:pPr>
            <a:endParaRPr lang="nl-NL" sz="2000" dirty="0">
              <a:solidFill>
                <a:schemeClr val="bg1"/>
              </a:solidFill>
            </a:endParaRPr>
          </a:p>
          <a:p>
            <a:pPr marL="285750" indent="-285750" algn="l">
              <a:spcBef>
                <a:spcPct val="0"/>
              </a:spcBef>
              <a:buFont typeface="Arial" panose="020B0604020202020204" pitchFamily="34" charset="0"/>
              <a:buChar char="•"/>
            </a:pPr>
            <a:r>
              <a:rPr lang="nl-NL" sz="2000" dirty="0">
                <a:solidFill>
                  <a:schemeClr val="bg1"/>
                </a:solidFill>
              </a:rPr>
              <a:t>Related concepts: Knowledge Graphs, FAIR data</a:t>
            </a:r>
          </a:p>
        </p:txBody>
      </p:sp>
      <p:pic>
        <p:nvPicPr>
          <p:cNvPr id="1026" name="Picture 2" descr="Tim Berners-Lee - Wikipedia">
            <a:hlinkClick r:id="rId2"/>
            <a:extLst>
              <a:ext uri="{FF2B5EF4-FFF2-40B4-BE49-F238E27FC236}">
                <a16:creationId xmlns:a16="http://schemas.microsoft.com/office/drawing/2014/main" id="{AA486B77-F74C-9E3D-DE8D-7B81C849CD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4046" y="1556792"/>
            <a:ext cx="3462983" cy="433176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5-star steps by example">
            <a:extLst>
              <a:ext uri="{FF2B5EF4-FFF2-40B4-BE49-F238E27FC236}">
                <a16:creationId xmlns:a16="http://schemas.microsoft.com/office/drawing/2014/main" id="{418ED2C7-7E98-D2C7-06CB-CD32FB5285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75562" y="4078330"/>
            <a:ext cx="3835955" cy="2177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7027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ags/tag2.xml><?xml version="1.0" encoding="utf-8"?>
<p:tagLst xmlns:a="http://schemas.openxmlformats.org/drawingml/2006/main" xmlns:r="http://schemas.openxmlformats.org/officeDocument/2006/relationships" xmlns:p="http://schemas.openxmlformats.org/presentationml/2006/main">
  <p:tag name="EE4P_SLIDEID" val="321d1e30-6c40-4a29-9805-e4a36d83f4a6"/>
</p:tagLst>
</file>

<file path=ppt/tags/tag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68696509-810f-4220-a852-2c26fe3ed797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68696509-810f-4220-a852-2c26fe3ed797_Element"/>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291CC30C7DBC4B805FC9100271AA0C" ma:contentTypeVersion="18" ma:contentTypeDescription="Create a new document." ma:contentTypeScope="" ma:versionID="331ecf2b19efa8a3cef7b30f5f340392">
  <xsd:schema xmlns:xsd="http://www.w3.org/2001/XMLSchema" xmlns:xs="http://www.w3.org/2001/XMLSchema" xmlns:p="http://schemas.microsoft.com/office/2006/metadata/properties" xmlns:ns3="3fa9c3f5-87e5-4b55-9388-2c28220c4301" xmlns:ns4="60529692-829f-4188-8163-e68fe0843e20" targetNamespace="http://schemas.microsoft.com/office/2006/metadata/properties" ma:root="true" ma:fieldsID="db8610ea5cb000d2a626ce394357813d" ns3:_="" ns4:_="">
    <xsd:import namespace="3fa9c3f5-87e5-4b55-9388-2c28220c4301"/>
    <xsd:import namespace="60529692-829f-4188-8163-e68fe0843e2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a9c3f5-87e5-4b55-9388-2c28220c43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0529692-829f-4188-8163-e68fe0843e2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3fa9c3f5-87e5-4b55-9388-2c28220c4301" xsi:nil="true"/>
  </documentManagement>
</p:properties>
</file>

<file path=customXml/itemProps1.xml><?xml version="1.0" encoding="utf-8"?>
<ds:datastoreItem xmlns:ds="http://schemas.openxmlformats.org/officeDocument/2006/customXml" ds:itemID="{666F7877-E7A4-4A78-9AAD-235F0E38D8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a9c3f5-87e5-4b55-9388-2c28220c4301"/>
    <ds:schemaRef ds:uri="60529692-829f-4188-8163-e68fe0843e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4AA0B75-F81E-4CBD-8D2B-14583811BDF9}">
  <ds:schemaRefs>
    <ds:schemaRef ds:uri="http://schemas.microsoft.com/sharepoint/v3/contenttype/forms"/>
  </ds:schemaRefs>
</ds:datastoreItem>
</file>

<file path=customXml/itemProps3.xml><?xml version="1.0" encoding="utf-8"?>
<ds:datastoreItem xmlns:ds="http://schemas.openxmlformats.org/officeDocument/2006/customXml" ds:itemID="{B06F49AD-A221-42E1-BFF9-A401606CF2EE}">
  <ds:schemaRefs>
    <ds:schemaRef ds:uri="60529692-829f-4188-8163-e68fe0843e20"/>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3fa9c3f5-87e5-4b55-9388-2c28220c4301"/>
    <ds:schemaRef ds:uri="http://www.w3.org/XML/1998/namespace"/>
    <ds:schemaRef ds:uri="http://purl.org/dc/dcmitype/"/>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Template>
  <TotalTime>2994</TotalTime>
  <Words>1731</Words>
  <Application>Microsoft Office PowerPoint</Application>
  <PresentationFormat>Widescreen</PresentationFormat>
  <Paragraphs>305</Paragraphs>
  <Slides>48</Slides>
  <Notes>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8</vt:i4>
      </vt:variant>
    </vt:vector>
  </HeadingPairs>
  <TitlesOfParts>
    <vt:vector size="57" baseType="lpstr">
      <vt:lpstr>Courier New</vt:lpstr>
      <vt:lpstr>Ubuntu Medium</vt:lpstr>
      <vt:lpstr>Verdana</vt:lpstr>
      <vt:lpstr>Times New Roman</vt:lpstr>
      <vt:lpstr>Ubuntu Light</vt:lpstr>
      <vt:lpstr>Arial</vt:lpstr>
      <vt:lpstr>Ubuntu</vt:lpstr>
      <vt:lpstr>Wingdings</vt:lpstr>
      <vt:lpstr>Capgemini_2024</vt:lpstr>
      <vt:lpstr>Ontologies using OWL and SHACL</vt:lpstr>
      <vt:lpstr>House Rules</vt:lpstr>
      <vt:lpstr>Agenda</vt:lpstr>
      <vt:lpstr>PowerPoint Presentation</vt:lpstr>
      <vt:lpstr>About Me</vt:lpstr>
      <vt:lpstr>What about you?</vt:lpstr>
      <vt:lpstr>Capgemini Academy trainings on Linked Data</vt:lpstr>
      <vt:lpstr>PowerPoint Presentation</vt:lpstr>
      <vt:lpstr>Linked Data 101</vt:lpstr>
      <vt:lpstr>Linked Data 101</vt:lpstr>
      <vt:lpstr>Five take-aways</vt:lpstr>
      <vt:lpstr>RDF Vocabularies</vt:lpstr>
      <vt:lpstr>Reading Linked Data/RDF</vt:lpstr>
      <vt:lpstr>Reading Linked Data/RDF</vt:lpstr>
      <vt:lpstr>Reading Linked Data/RDF</vt:lpstr>
      <vt:lpstr>Reading Linked Data/RDF</vt:lpstr>
      <vt:lpstr>Notebook: simple-rdf-example-transformations.ipynb</vt:lpstr>
      <vt:lpstr>Discussion</vt:lpstr>
      <vt:lpstr>References / Recommend reading</vt:lpstr>
      <vt:lpstr>PowerPoint Presentation</vt:lpstr>
      <vt:lpstr>Discussion</vt:lpstr>
      <vt:lpstr>OWL</vt:lpstr>
      <vt:lpstr>OWL</vt:lpstr>
      <vt:lpstr>OWL</vt:lpstr>
      <vt:lpstr>OWL</vt:lpstr>
      <vt:lpstr>Question: Can you think of a case where OWL reasoning could be of value?</vt:lpstr>
      <vt:lpstr>SHACL</vt:lpstr>
      <vt:lpstr>SHACL</vt:lpstr>
      <vt:lpstr>Question: Where would you apply SHACL?</vt:lpstr>
      <vt:lpstr>First: OWL and SHACL?</vt:lpstr>
      <vt:lpstr>OWL vs SHACL</vt:lpstr>
      <vt:lpstr>Relevant developments/frameworks: Foundational ontologies such as BFO, DOLCE and OntoUML/UFO</vt:lpstr>
      <vt:lpstr>Relevant developments/frameworks: MIM and Reference Architecture 2030</vt:lpstr>
      <vt:lpstr>Relevant developments/frameworks: Data Spaces / Collaborative Data Ecosytems</vt:lpstr>
      <vt:lpstr>References / Recommend reading</vt:lpstr>
      <vt:lpstr>PowerPoint Presentation</vt:lpstr>
      <vt:lpstr>Pizza Ontology tutorial</vt:lpstr>
      <vt:lpstr>About Protege</vt:lpstr>
      <vt:lpstr>If we have time: let’s make our own ontology</vt:lpstr>
      <vt:lpstr>References / Recommend reading</vt:lpstr>
      <vt:lpstr>PowerPoint Presentation</vt:lpstr>
      <vt:lpstr>Validating RDF Data</vt:lpstr>
      <vt:lpstr>Notebook: shacl-notebook.ipynb</vt:lpstr>
      <vt:lpstr>References / Recommend reading</vt:lpstr>
      <vt:lpstr>PowerPoint Presentation</vt:lpstr>
      <vt:lpstr>Discussion</vt:lpstr>
      <vt:lpstr>PowerPoint Presentation</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Westhoff, Amir</dc:creator>
  <cp:keywords/>
  <cp:lastModifiedBy>Westhoff, Amir</cp:lastModifiedBy>
  <cp:revision>3</cp:revision>
  <dcterms:created xsi:type="dcterms:W3CDTF">2024-09-16T20:28:31Z</dcterms:created>
  <dcterms:modified xsi:type="dcterms:W3CDTF">2024-09-18T23:12:13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291CC30C7DBC4B805FC9100271AA0C</vt:lpwstr>
  </property>
  <property fmtid="{D5CDD505-2E9C-101B-9397-08002B2CF9AE}" pid="3" name="MediaServiceImageTags">
    <vt:lpwstr/>
  </property>
</Properties>
</file>